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gif" ContentType="image/gif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slides/slide2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3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5.xml" ContentType="application/vnd.openxmlformats-officedocument.presentationml.notesSlide+xml"/>
  <Override PartName="/ppt/diagrams/data6.xml" ContentType="application/vnd.openxmlformats-officedocument.drawingml.diagramData+xml"/>
  <Override PartName="/ppt/diagrams/layout6.xml" ContentType="application/vnd.openxmlformats-officedocument.drawingml.diagramLayout+xml"/>
  <Override PartName="/ppt/diagrams/quickStyle6.xml" ContentType="application/vnd.openxmlformats-officedocument.drawingml.diagramStyle+xml"/>
  <Override PartName="/ppt/diagrams/colors6.xml" ContentType="application/vnd.openxmlformats-officedocument.drawingml.diagramColors+xml"/>
  <Override PartName="/ppt/diagrams/drawing6.xml" ContentType="application/vnd.ms-office.drawingml.diagramDrawing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omments/comment1.xml" ContentType="application/vnd.openxmlformats-officedocument.presentationml.comments+xml"/>
  <Override PartName="/ppt/notesSlides/notesSlide8.xml" ContentType="application/vnd.openxmlformats-officedocument.presentationml.notesSlide+xml"/>
  <Override PartName="/ppt/tags/tag3.xml" ContentType="application/vnd.openxmlformats-officedocument.presentationml.tags+xml"/>
  <Override PartName="/ppt/notesSlides/notesSlide9.xml" ContentType="application/vnd.openxmlformats-officedocument.presentationml.notesSlide+xml"/>
  <Override PartName="/ppt/diagrams/data7.xml" ContentType="application/vnd.openxmlformats-officedocument.drawingml.diagramData+xml"/>
  <Override PartName="/ppt/diagrams/layout7.xml" ContentType="application/vnd.openxmlformats-officedocument.drawingml.diagramLayout+xml"/>
  <Override PartName="/ppt/diagrams/quickStyle7.xml" ContentType="application/vnd.openxmlformats-officedocument.drawingml.diagramStyle+xml"/>
  <Override PartName="/ppt/diagrams/colors7.xml" ContentType="application/vnd.openxmlformats-officedocument.drawingml.diagramColors+xml"/>
  <Override PartName="/ppt/diagrams/drawing7.xml" ContentType="application/vnd.ms-office.drawingml.diagramDrawing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863" r:id="rId1"/>
  </p:sldMasterIdLst>
  <p:notesMasterIdLst>
    <p:notesMasterId r:id="rId31"/>
  </p:notesMasterIdLst>
  <p:handoutMasterIdLst>
    <p:handoutMasterId r:id="rId32"/>
  </p:handoutMasterIdLst>
  <p:sldIdLst>
    <p:sldId id="597" r:id="rId2"/>
    <p:sldId id="495" r:id="rId3"/>
    <p:sldId id="496" r:id="rId4"/>
    <p:sldId id="488" r:id="rId5"/>
    <p:sldId id="556" r:id="rId6"/>
    <p:sldId id="572" r:id="rId7"/>
    <p:sldId id="552" r:id="rId8"/>
    <p:sldId id="553" r:id="rId9"/>
    <p:sldId id="554" r:id="rId10"/>
    <p:sldId id="558" r:id="rId11"/>
    <p:sldId id="596" r:id="rId12"/>
    <p:sldId id="571" r:id="rId13"/>
    <p:sldId id="598" r:id="rId14"/>
    <p:sldId id="561" r:id="rId15"/>
    <p:sldId id="594" r:id="rId16"/>
    <p:sldId id="574" r:id="rId17"/>
    <p:sldId id="589" r:id="rId18"/>
    <p:sldId id="575" r:id="rId19"/>
    <p:sldId id="579" r:id="rId20"/>
    <p:sldId id="550" r:id="rId21"/>
    <p:sldId id="581" r:id="rId22"/>
    <p:sldId id="591" r:id="rId23"/>
    <p:sldId id="539" r:id="rId24"/>
    <p:sldId id="584" r:id="rId25"/>
    <p:sldId id="583" r:id="rId26"/>
    <p:sldId id="592" r:id="rId27"/>
    <p:sldId id="593" r:id="rId28"/>
    <p:sldId id="588" r:id="rId29"/>
    <p:sldId id="560" r:id="rId30"/>
  </p:sldIdLst>
  <p:sldSz cx="9144000" cy="5143500" type="screen16x9"/>
  <p:notesSz cx="6858000" cy="9144000"/>
  <p:custDataLst>
    <p:tags r:id="rId33"/>
  </p:custDataLst>
  <p:defaultTextStyle>
    <a:defPPr>
      <a:defRPr lang="en-GB"/>
    </a:defPPr>
    <a:lvl1pPr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1pPr>
    <a:lvl2pPr marL="355600" indent="101600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2pPr>
    <a:lvl3pPr marL="712788" indent="2016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3pPr>
    <a:lvl4pPr marL="1068388" indent="303213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4pPr>
    <a:lvl5pPr marL="1425575" indent="403225" algn="l" defTabSz="712788" rtl="0" fontAlgn="base">
      <a:spcBef>
        <a:spcPct val="0"/>
      </a:spcBef>
      <a:spcAft>
        <a:spcPct val="0"/>
      </a:spcAft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5pPr>
    <a:lvl6pPr marL="22860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6pPr>
    <a:lvl7pPr marL="27432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7pPr>
    <a:lvl8pPr marL="32004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8pPr>
    <a:lvl9pPr marL="3657600" algn="l" defTabSz="914400" rtl="0" eaLnBrk="1" latinLnBrk="0" hangingPunct="1">
      <a:defRPr sz="1400" kern="1200">
        <a:solidFill>
          <a:schemeClr val="tx1"/>
        </a:solidFill>
        <a:latin typeface="Helvetica 75" pitchFamily="34" charset="0"/>
        <a:ea typeface="ＭＳ Ｐゴシック" pitchFamily="34" charset="-128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Titre" id="{72A0C14C-6D8C-461B-AE2F-1214D784C8B2}">
          <p14:sldIdLst>
            <p14:sldId id="597"/>
          </p14:sldIdLst>
        </p14:section>
        <p14:section name="contenu" id="{4F8D5502-DC78-4131-9BCE-0C673F95DA92}">
          <p14:sldIdLst>
            <p14:sldId id="495"/>
            <p14:sldId id="496"/>
            <p14:sldId id="488"/>
            <p14:sldId id="556"/>
            <p14:sldId id="572"/>
            <p14:sldId id="552"/>
            <p14:sldId id="553"/>
            <p14:sldId id="554"/>
            <p14:sldId id="558"/>
            <p14:sldId id="596"/>
            <p14:sldId id="571"/>
            <p14:sldId id="598"/>
            <p14:sldId id="561"/>
            <p14:sldId id="594"/>
            <p14:sldId id="574"/>
            <p14:sldId id="589"/>
            <p14:sldId id="575"/>
            <p14:sldId id="579"/>
            <p14:sldId id="550"/>
            <p14:sldId id="581"/>
            <p14:sldId id="591"/>
            <p14:sldId id="539"/>
            <p14:sldId id="584"/>
            <p14:sldId id="583"/>
            <p14:sldId id="592"/>
            <p14:sldId id="593"/>
            <p14:sldId id="588"/>
          </p14:sldIdLst>
        </p14:section>
        <p14:section name="Annexes" id="{80D2A678-5DC8-47C3-A38F-63F8ABF41B89}">
          <p14:sldIdLst>
            <p14:sldId id="56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029">
          <p15:clr>
            <a:srgbClr val="A4A3A4"/>
          </p15:clr>
        </p15:guide>
        <p15:guide id="2" orient="horz" pos="804">
          <p15:clr>
            <a:srgbClr val="A4A3A4"/>
          </p15:clr>
        </p15:guide>
        <p15:guide id="3" orient="horz" pos="1620">
          <p15:clr>
            <a:srgbClr val="A4A3A4"/>
          </p15:clr>
        </p15:guide>
        <p15:guide id="4" orient="horz" pos="1212">
          <p15:clr>
            <a:srgbClr val="A4A3A4"/>
          </p15:clr>
        </p15:guide>
        <p15:guide id="5" pos="5550">
          <p15:clr>
            <a:srgbClr val="A4A3A4"/>
          </p15:clr>
        </p15:guide>
        <p15:guide id="6" pos="214">
          <p15:clr>
            <a:srgbClr val="A4A3A4"/>
          </p15:clr>
        </p15:guide>
        <p15:guide id="7" pos="2783">
          <p15:clr>
            <a:srgbClr val="A4A3A4"/>
          </p15:clr>
        </p15:guide>
        <p15:guide id="8" pos="2977">
          <p15:clr>
            <a:srgbClr val="A4A3A4"/>
          </p15:clr>
        </p15:guide>
        <p15:guide id="9" pos="3888">
          <p15:clr>
            <a:srgbClr val="A4A3A4"/>
          </p15:clr>
        </p15:guide>
        <p15:guide id="10" pos="4100">
          <p15:clr>
            <a:srgbClr val="A4A3A4"/>
          </p15:clr>
        </p15:guide>
        <p15:guide id="11" pos="1877">
          <p15:clr>
            <a:srgbClr val="A4A3A4"/>
          </p15:clr>
        </p15:guide>
        <p15:guide id="12" pos="1662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FAMIBELLE Medhi Corneille OF/DCOF" initials="FMO" lastIdx="1" clrIdx="0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FF9933"/>
    <a:srgbClr val="50BE87"/>
    <a:srgbClr val="000000"/>
    <a:srgbClr val="FFDC00"/>
    <a:srgbClr val="4BB4E6"/>
    <a:srgbClr val="FF6600"/>
    <a:srgbClr val="59595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75DCB02-9BB8-47FD-8907-85C794F793BA}" styleName="Style à thème 1 - Accentuation 4">
    <a:tblBg>
      <a:fillRef idx="2">
        <a:schemeClr val="accent4"/>
      </a:fillRef>
      <a:effectRef idx="1">
        <a:schemeClr val="accent4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Ref idx="1">
              <a:schemeClr val="accent4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  <a:fill>
          <a:solidFill>
            <a:schemeClr val="accent4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4"/>
            </a:lnRef>
          </a:left>
          <a:right>
            <a:lnRef idx="2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Ref idx="1">
              <a:schemeClr val="accent4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2">
              <a:schemeClr val="accent4"/>
            </a:lnRef>
          </a:top>
          <a:bottom>
            <a:lnRef idx="2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firstRow>
  </a:tblStyle>
  <a:tblStyle styleId="{17292A2E-F333-43FB-9621-5CBBE7FDCDCB}" styleName="Style léger 2 - Accentuation 4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4"/>
            </a:lnRef>
          </a:top>
          <a:bottom>
            <a:lnRef idx="1">
              <a:schemeClr val="accent4"/>
            </a:lnRef>
          </a:bottom>
        </a:tcBdr>
      </a:tcStyle>
    </a:band1H>
    <a:band1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1V>
    <a:band2V>
      <a:tcStyle>
        <a:tcBdr>
          <a:left>
            <a:lnRef idx="1">
              <a:schemeClr val="accent4"/>
            </a:lnRef>
          </a:left>
          <a:right>
            <a:lnRef idx="1">
              <a:schemeClr val="accent4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4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4"/>
        </a:fillRef>
      </a:tcStyle>
    </a:firstRow>
  </a:tblStyle>
  <a:tblStyle styleId="{21E4AEA4-8DFA-4A89-87EB-49C32662AFE0}" styleName="Style moyen 2 - Accentuation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4221" autoAdjust="0"/>
    <p:restoredTop sz="91652" autoAdjust="0"/>
  </p:normalViewPr>
  <p:slideViewPr>
    <p:cSldViewPr>
      <p:cViewPr varScale="1">
        <p:scale>
          <a:sx n="136" d="100"/>
          <a:sy n="136" d="100"/>
        </p:scale>
        <p:origin x="360" y="114"/>
      </p:cViewPr>
      <p:guideLst>
        <p:guide orient="horz" pos="3029"/>
        <p:guide orient="horz" pos="804"/>
        <p:guide orient="horz" pos="1620"/>
        <p:guide orient="horz" pos="1212"/>
        <p:guide pos="5550"/>
        <p:guide pos="214"/>
        <p:guide pos="2783"/>
        <p:guide pos="2977"/>
        <p:guide pos="3888"/>
        <p:guide pos="4100"/>
        <p:guide pos="1877"/>
        <p:guide pos="1662"/>
      </p:guideLst>
    </p:cSldViewPr>
  </p:slideViewPr>
  <p:outlineViewPr>
    <p:cViewPr>
      <p:scale>
        <a:sx n="33" d="100"/>
        <a:sy n="33" d="100"/>
      </p:scale>
      <p:origin x="0" y="89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4896"/>
    </p:cViewPr>
  </p:sorterViewPr>
  <p:notesViewPr>
    <p:cSldViewPr showGuides="1">
      <p:cViewPr varScale="1">
        <p:scale>
          <a:sx n="90" d="100"/>
          <a:sy n="90" d="100"/>
        </p:scale>
        <p:origin x="-369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commentAuthors" Target="commentAuthor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tags" Target="tags/tag1.xml"/><Relationship Id="rId38" Type="http://schemas.openxmlformats.org/officeDocument/2006/relationships/tableStyles" Target="tableStyle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handoutMaster" Target="handoutMasters/handoutMaster1.xml"/><Relationship Id="rId37" Type="http://schemas.openxmlformats.org/officeDocument/2006/relationships/theme" Target="theme/theme1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36" Type="http://schemas.openxmlformats.org/officeDocument/2006/relationships/viewProps" Target="view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notesMaster" Target="notesMasters/notes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slide" Target="slides/slide29.xml"/><Relationship Id="rId35" Type="http://schemas.openxmlformats.org/officeDocument/2006/relationships/presProps" Target="presProps.xml"/></Relationships>
</file>

<file path=ppt/comments/comment1.xml><?xml version="1.0" encoding="utf-8"?>
<p:cmLst xmlns:a="http://schemas.openxmlformats.org/drawingml/2006/main" xmlns:r="http://schemas.openxmlformats.org/officeDocument/2006/relationships" xmlns:p="http://schemas.openxmlformats.org/presentationml/2006/main">
  <p:cm authorId="0" dt="2018-11-11T22:33:46.443" idx="1">
    <p:pos x="5142" y="3052"/>
    <p:text/>
  </p:cm>
</p:cmLst>
</file>

<file path=ppt/diagrams/_rels/data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11.png"/><Relationship Id="rId1" Type="http://schemas.openxmlformats.org/officeDocument/2006/relationships/image" Target="../media/image10.png"/></Relationships>
</file>

<file path=ppt/diagrams/_rels/data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15.png"/><Relationship Id="rId1" Type="http://schemas.openxmlformats.org/officeDocument/2006/relationships/image" Target="../media/image14.png"/></Relationships>
</file>

<file path=ppt/diagrams/_rels/data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7.png"/><Relationship Id="rId2" Type="http://schemas.openxmlformats.org/officeDocument/2006/relationships/image" Target="../media/image46.png"/><Relationship Id="rId1" Type="http://schemas.openxmlformats.org/officeDocument/2006/relationships/image" Target="../media/image45.png"/><Relationship Id="rId4" Type="http://schemas.openxmlformats.org/officeDocument/2006/relationships/image" Target="../media/image48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3">
  <dgm:title val=""/>
  <dgm:desc val=""/>
  <dgm:catLst>
    <dgm:cat type="colorful" pri="103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3"/>
      <a:schemeClr val="accent4"/>
    </dgm:fillClrLst>
    <dgm:linClrLst>
      <a:schemeClr val="accent3"/>
      <a:schemeClr val="accent4"/>
    </dgm:linClrLst>
    <dgm:effectClrLst/>
    <dgm:txLinClrLst/>
    <dgm:txFillClrLst/>
    <dgm:txEffectClrLst/>
  </dgm:styleLbl>
  <dgm:styleLbl name="lnNode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3">
        <a:alpha val="50000"/>
      </a:schemeClr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3">
        <a:tint val="50000"/>
      </a:schemeClr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3">
        <a:tint val="50000"/>
      </a:schemeClr>
      <a:schemeClr val="accent4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3"/>
      <a:schemeClr val="accent4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3"/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>
        <a:tint val="9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>
        <a:tint val="70000"/>
      </a:schemeClr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3"/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3">
        <a:tint val="40000"/>
        <a:alpha val="90000"/>
      </a:schemeClr>
      <a:schemeClr val="accent4">
        <a:tint val="40000"/>
        <a:alpha val="90000"/>
      </a:schemeClr>
    </dgm:fillClrLst>
    <dgm:linClrLst>
      <a:schemeClr val="accent3">
        <a:tint val="40000"/>
        <a:alpha val="90000"/>
      </a:schemeClr>
      <a:schemeClr val="accent4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5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colorful1">
  <dgm:title val=""/>
  <dgm:desc val=""/>
  <dgm:catLst>
    <dgm:cat type="colorful" pri="101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/>
    <dgm:txEffectClrLst/>
  </dgm:styleLbl>
  <dgm:styleLbl name="lnNode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  <a:schemeClr val="accent3">
        <a:alpha val="50000"/>
      </a:schemeClr>
      <a:schemeClr val="accent4">
        <a:alpha val="50000"/>
      </a:schemeClr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  <a:schemeClr val="accent3">
        <a:tint val="50000"/>
      </a:schemeClr>
      <a:schemeClr val="accent4">
        <a:tint val="50000"/>
      </a:schemeClr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1">
        <a:tint val="50000"/>
      </a:schemeClr>
      <a:schemeClr val="accent2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/>
    <dgm:txEffectClrLst/>
  </dgm:styleLbl>
  <dgm:styleLbl name="f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 meth="repeat">
      <a:schemeClr val="accent2"/>
      <a:schemeClr val="accent3"/>
      <a:schemeClr val="accent4"/>
      <a:schemeClr val="accent5"/>
      <a:schemeClr val="accent6"/>
    </dgm:fillClrLst>
    <dgm:linClrLst meth="cycle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 meth="repeat">
      <a:schemeClr val="accent2"/>
      <a:schemeClr val="accent3"/>
      <a:schemeClr val="accent4"/>
      <a:schemeClr val="accent5"/>
      <a:schemeClr val="accent6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5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>
        <a:tint val="9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>
        <a:tint val="70000"/>
      </a:schemeClr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5">
        <a:tint val="50000"/>
      </a:schemeClr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  <a:schemeClr val="accent3"/>
      <a:schemeClr val="accent4"/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fillClrLst>
    <dgm:linClrLst meth="repeat">
      <a:schemeClr val="accent2">
        <a:tint val="40000"/>
        <a:alpha val="90000"/>
      </a:schemeClr>
      <a:schemeClr val="accent3">
        <a:tint val="40000"/>
        <a:alpha val="90000"/>
      </a:schemeClr>
      <a:schemeClr val="accent4">
        <a:tint val="40000"/>
        <a:alpha val="90000"/>
      </a:schemeClr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7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C4CABCB6-6C8E-4F95-9FBD-ABF8EB79E3CD}" type="doc">
      <dgm:prSet loTypeId="urn:microsoft.com/office/officeart/2005/8/layout/vList3" loCatId="list" qsTypeId="urn:microsoft.com/office/officeart/2005/8/quickstyle/simple1" qsCatId="simple" csTypeId="urn:microsoft.com/office/officeart/2005/8/colors/colorful3" csCatId="colorful" phldr="1"/>
      <dgm:spPr/>
    </dgm:pt>
    <dgm:pt modelId="{A75EE839-7C9A-46FC-AAF9-258BBAF3D5C1}">
      <dgm:prSet phldrT="[Texte]"/>
      <dgm:spPr/>
      <dgm:t>
        <a:bodyPr/>
        <a:lstStyle/>
        <a:p>
          <a:r>
            <a:rPr lang="fr-FR" dirty="0" smtClean="0"/>
            <a:t>La Voix du Consommateurs</a:t>
          </a:r>
          <a:endParaRPr lang="fr-FR" dirty="0"/>
        </a:p>
      </dgm:t>
    </dgm:pt>
    <dgm:pt modelId="{170E5D22-30CE-45BF-9EA8-EBDE9A6C25CD}" type="parTrans" cxnId="{CAB6D173-FF42-4282-A0CF-48048E02101F}">
      <dgm:prSet/>
      <dgm:spPr/>
      <dgm:t>
        <a:bodyPr/>
        <a:lstStyle/>
        <a:p>
          <a:endParaRPr lang="fr-FR"/>
        </a:p>
      </dgm:t>
    </dgm:pt>
    <dgm:pt modelId="{7C1D4521-1177-4E38-B1AD-092DAE14C95F}" type="sibTrans" cxnId="{CAB6D173-FF42-4282-A0CF-48048E02101F}">
      <dgm:prSet/>
      <dgm:spPr/>
      <dgm:t>
        <a:bodyPr/>
        <a:lstStyle/>
        <a:p>
          <a:endParaRPr lang="fr-FR"/>
        </a:p>
      </dgm:t>
    </dgm:pt>
    <dgm:pt modelId="{EADCD1CD-C89A-4AB8-9406-C5380B65C3DE}">
      <dgm:prSet phldrT="[Texte]"/>
      <dgm:spPr/>
      <dgm:t>
        <a:bodyPr/>
        <a:lstStyle/>
        <a:p>
          <a:r>
            <a:rPr lang="fr-FR" dirty="0" smtClean="0"/>
            <a:t>~120M de verbatim</a:t>
          </a:r>
          <a:endParaRPr lang="fr-FR" dirty="0"/>
        </a:p>
      </dgm:t>
    </dgm:pt>
    <dgm:pt modelId="{E884B060-5A78-4320-982D-3129D6AB8C23}" type="parTrans" cxnId="{B4F76CA0-3918-4028-80EF-ED0A48F3A919}">
      <dgm:prSet/>
      <dgm:spPr/>
      <dgm:t>
        <a:bodyPr/>
        <a:lstStyle/>
        <a:p>
          <a:endParaRPr lang="fr-FR"/>
        </a:p>
      </dgm:t>
    </dgm:pt>
    <dgm:pt modelId="{46588DF0-E174-4FE5-A195-5A6939A1A821}" type="sibTrans" cxnId="{B4F76CA0-3918-4028-80EF-ED0A48F3A919}">
      <dgm:prSet/>
      <dgm:spPr/>
      <dgm:t>
        <a:bodyPr/>
        <a:lstStyle/>
        <a:p>
          <a:endParaRPr lang="fr-FR"/>
        </a:p>
      </dgm:t>
    </dgm:pt>
    <dgm:pt modelId="{EBF16604-726F-42A9-A5EA-7105E55D1D07}">
      <dgm:prSet phldrT="[Texte]"/>
      <dgm:spPr/>
      <dgm:t>
        <a:bodyPr/>
        <a:lstStyle/>
        <a:p>
          <a:r>
            <a:rPr lang="fr-FR" dirty="0" smtClean="0"/>
            <a:t>Sur le secteur des télécommunications en 2018*</a:t>
          </a:r>
          <a:endParaRPr lang="fr-FR" dirty="0"/>
        </a:p>
      </dgm:t>
    </dgm:pt>
    <dgm:pt modelId="{0946D366-4AE1-4187-AC9A-DCDE566C4898}" type="parTrans" cxnId="{9E22862B-D86C-4C0A-A901-EE997152CDB6}">
      <dgm:prSet/>
      <dgm:spPr/>
      <dgm:t>
        <a:bodyPr/>
        <a:lstStyle/>
        <a:p>
          <a:endParaRPr lang="fr-FR"/>
        </a:p>
      </dgm:t>
    </dgm:pt>
    <dgm:pt modelId="{0B2594FC-3F94-4DD0-BCF3-4BD0340E120B}" type="sibTrans" cxnId="{9E22862B-D86C-4C0A-A901-EE997152CDB6}">
      <dgm:prSet/>
      <dgm:spPr/>
      <dgm:t>
        <a:bodyPr/>
        <a:lstStyle/>
        <a:p>
          <a:endParaRPr lang="fr-FR"/>
        </a:p>
      </dgm:t>
    </dgm:pt>
    <dgm:pt modelId="{51A9ACED-C81E-4A03-A00E-3DB0DFA4A9EA}" type="pres">
      <dgm:prSet presAssocID="{C4CABCB6-6C8E-4F95-9FBD-ABF8EB79E3CD}" presName="linearFlow" presStyleCnt="0">
        <dgm:presLayoutVars>
          <dgm:dir/>
          <dgm:resizeHandles val="exact"/>
        </dgm:presLayoutVars>
      </dgm:prSet>
      <dgm:spPr/>
    </dgm:pt>
    <dgm:pt modelId="{F74F148B-13D2-49CB-9F6E-9CD5D3762EAE}" type="pres">
      <dgm:prSet presAssocID="{A75EE839-7C9A-46FC-AAF9-258BBAF3D5C1}" presName="composite" presStyleCnt="0"/>
      <dgm:spPr/>
    </dgm:pt>
    <dgm:pt modelId="{12675E23-3C9E-4387-ABDF-DF6CF3C0C4E8}" type="pres">
      <dgm:prSet presAssocID="{A75EE839-7C9A-46FC-AAF9-258BBAF3D5C1}" presName="imgShp" presStyleLbl="fgImgPlace1" presStyleIdx="0" presStyleCnt="3"/>
      <dgm:spPr>
        <a:blipFill rotWithShape="1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3D5091E4-1E17-4898-AB72-6D14FCE80F5D}" type="pres">
      <dgm:prSet presAssocID="{A75EE839-7C9A-46FC-AAF9-258BBAF3D5C1}" presName="txShp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7F2CF25-FBFE-456B-ADD6-F86D948034AB}" type="pres">
      <dgm:prSet presAssocID="{7C1D4521-1177-4E38-B1AD-092DAE14C95F}" presName="spacing" presStyleCnt="0"/>
      <dgm:spPr/>
    </dgm:pt>
    <dgm:pt modelId="{98C1587C-99F7-4CC5-8A41-E137AC735C6A}" type="pres">
      <dgm:prSet presAssocID="{EADCD1CD-C89A-4AB8-9406-C5380B65C3DE}" presName="composite" presStyleCnt="0"/>
      <dgm:spPr/>
    </dgm:pt>
    <dgm:pt modelId="{E27C3001-8417-4052-A4A6-107FB45E0AA4}" type="pres">
      <dgm:prSet presAssocID="{EADCD1CD-C89A-4AB8-9406-C5380B65C3DE}" presName="imgShp" presStyleLbl="fgImgPlace1" presStyleIdx="1" presStyleCnt="3"/>
      <dgm:spPr>
        <a:blipFill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</dgm:spPr>
    </dgm:pt>
    <dgm:pt modelId="{B9493191-B4C1-4BA6-8915-3627D30710A3}" type="pres">
      <dgm:prSet presAssocID="{EADCD1CD-C89A-4AB8-9406-C5380B65C3DE}" presName="txShp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2DFA430-9700-49B0-93A6-513953536049}" type="pres">
      <dgm:prSet presAssocID="{46588DF0-E174-4FE5-A195-5A6939A1A821}" presName="spacing" presStyleCnt="0"/>
      <dgm:spPr/>
    </dgm:pt>
    <dgm:pt modelId="{919ABAD5-D6D3-4520-93D0-98DB90F21B38}" type="pres">
      <dgm:prSet presAssocID="{EBF16604-726F-42A9-A5EA-7105E55D1D07}" presName="composite" presStyleCnt="0"/>
      <dgm:spPr/>
    </dgm:pt>
    <dgm:pt modelId="{F0F9A73E-7147-4589-AB07-A64536E1F5FE}" type="pres">
      <dgm:prSet presAssocID="{EBF16604-726F-42A9-A5EA-7105E55D1D07}" presName="imgShp" presStyleLbl="fgImgPlace1" presStyleIdx="2" presStyleCnt="3"/>
      <dgm:spPr>
        <a:blipFill rotWithShape="1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90D81DE3-E483-4C6F-BBC2-EDC95D976ED1}" type="pres">
      <dgm:prSet presAssocID="{EBF16604-726F-42A9-A5EA-7105E55D1D07}" presName="txShp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F9B60827-0E01-4EFD-821A-EFAA73036F10}" type="presOf" srcId="{EADCD1CD-C89A-4AB8-9406-C5380B65C3DE}" destId="{B9493191-B4C1-4BA6-8915-3627D30710A3}" srcOrd="0" destOrd="0" presId="urn:microsoft.com/office/officeart/2005/8/layout/vList3"/>
    <dgm:cxn modelId="{B4F76CA0-3918-4028-80EF-ED0A48F3A919}" srcId="{C4CABCB6-6C8E-4F95-9FBD-ABF8EB79E3CD}" destId="{EADCD1CD-C89A-4AB8-9406-C5380B65C3DE}" srcOrd="1" destOrd="0" parTransId="{E884B060-5A78-4320-982D-3129D6AB8C23}" sibTransId="{46588DF0-E174-4FE5-A195-5A6939A1A821}"/>
    <dgm:cxn modelId="{CAB6D173-FF42-4282-A0CF-48048E02101F}" srcId="{C4CABCB6-6C8E-4F95-9FBD-ABF8EB79E3CD}" destId="{A75EE839-7C9A-46FC-AAF9-258BBAF3D5C1}" srcOrd="0" destOrd="0" parTransId="{170E5D22-30CE-45BF-9EA8-EBDE9A6C25CD}" sibTransId="{7C1D4521-1177-4E38-B1AD-092DAE14C95F}"/>
    <dgm:cxn modelId="{CC8BFFB4-28FA-4FF5-9645-C51D89F34C01}" type="presOf" srcId="{EBF16604-726F-42A9-A5EA-7105E55D1D07}" destId="{90D81DE3-E483-4C6F-BBC2-EDC95D976ED1}" srcOrd="0" destOrd="0" presId="urn:microsoft.com/office/officeart/2005/8/layout/vList3"/>
    <dgm:cxn modelId="{070417BA-E910-4A01-8D4F-73B26E88D5BA}" type="presOf" srcId="{A75EE839-7C9A-46FC-AAF9-258BBAF3D5C1}" destId="{3D5091E4-1E17-4898-AB72-6D14FCE80F5D}" srcOrd="0" destOrd="0" presId="urn:microsoft.com/office/officeart/2005/8/layout/vList3"/>
    <dgm:cxn modelId="{278374FA-4116-43DA-B81D-86B7214EE6FE}" type="presOf" srcId="{C4CABCB6-6C8E-4F95-9FBD-ABF8EB79E3CD}" destId="{51A9ACED-C81E-4A03-A00E-3DB0DFA4A9EA}" srcOrd="0" destOrd="0" presId="urn:microsoft.com/office/officeart/2005/8/layout/vList3"/>
    <dgm:cxn modelId="{9E22862B-D86C-4C0A-A901-EE997152CDB6}" srcId="{C4CABCB6-6C8E-4F95-9FBD-ABF8EB79E3CD}" destId="{EBF16604-726F-42A9-A5EA-7105E55D1D07}" srcOrd="2" destOrd="0" parTransId="{0946D366-4AE1-4187-AC9A-DCDE566C4898}" sibTransId="{0B2594FC-3F94-4DD0-BCF3-4BD0340E120B}"/>
    <dgm:cxn modelId="{2F68789F-FC04-488E-A625-886B337E41F1}" type="presParOf" srcId="{51A9ACED-C81E-4A03-A00E-3DB0DFA4A9EA}" destId="{F74F148B-13D2-49CB-9F6E-9CD5D3762EAE}" srcOrd="0" destOrd="0" presId="urn:microsoft.com/office/officeart/2005/8/layout/vList3"/>
    <dgm:cxn modelId="{B778B09B-D091-47CE-B678-175CEF5A6980}" type="presParOf" srcId="{F74F148B-13D2-49CB-9F6E-9CD5D3762EAE}" destId="{12675E23-3C9E-4387-ABDF-DF6CF3C0C4E8}" srcOrd="0" destOrd="0" presId="urn:microsoft.com/office/officeart/2005/8/layout/vList3"/>
    <dgm:cxn modelId="{D57557B4-D16C-4742-99D7-10CD119383B1}" type="presParOf" srcId="{F74F148B-13D2-49CB-9F6E-9CD5D3762EAE}" destId="{3D5091E4-1E17-4898-AB72-6D14FCE80F5D}" srcOrd="1" destOrd="0" presId="urn:microsoft.com/office/officeart/2005/8/layout/vList3"/>
    <dgm:cxn modelId="{6668F6A7-1372-4A39-8F35-E148EF385D55}" type="presParOf" srcId="{51A9ACED-C81E-4A03-A00E-3DB0DFA4A9EA}" destId="{97F2CF25-FBFE-456B-ADD6-F86D948034AB}" srcOrd="1" destOrd="0" presId="urn:microsoft.com/office/officeart/2005/8/layout/vList3"/>
    <dgm:cxn modelId="{F48C8D79-2E31-4D8D-98D3-9AB94B57C0F0}" type="presParOf" srcId="{51A9ACED-C81E-4A03-A00E-3DB0DFA4A9EA}" destId="{98C1587C-99F7-4CC5-8A41-E137AC735C6A}" srcOrd="2" destOrd="0" presId="urn:microsoft.com/office/officeart/2005/8/layout/vList3"/>
    <dgm:cxn modelId="{E0F04C55-51A2-4E09-BF0B-220B5DB8BD79}" type="presParOf" srcId="{98C1587C-99F7-4CC5-8A41-E137AC735C6A}" destId="{E27C3001-8417-4052-A4A6-107FB45E0AA4}" srcOrd="0" destOrd="0" presId="urn:microsoft.com/office/officeart/2005/8/layout/vList3"/>
    <dgm:cxn modelId="{9875038A-2CF8-49D2-A0C8-B46E01DB889C}" type="presParOf" srcId="{98C1587C-99F7-4CC5-8A41-E137AC735C6A}" destId="{B9493191-B4C1-4BA6-8915-3627D30710A3}" srcOrd="1" destOrd="0" presId="urn:microsoft.com/office/officeart/2005/8/layout/vList3"/>
    <dgm:cxn modelId="{C2E4C916-FDE6-468D-BFEB-5CD2541BD937}" type="presParOf" srcId="{51A9ACED-C81E-4A03-A00E-3DB0DFA4A9EA}" destId="{42DFA430-9700-49B0-93A6-513953536049}" srcOrd="3" destOrd="0" presId="urn:microsoft.com/office/officeart/2005/8/layout/vList3"/>
    <dgm:cxn modelId="{730F578F-625D-4072-B6DA-977ECBA9E024}" type="presParOf" srcId="{51A9ACED-C81E-4A03-A00E-3DB0DFA4A9EA}" destId="{919ABAD5-D6D3-4520-93D0-98DB90F21B38}" srcOrd="4" destOrd="0" presId="urn:microsoft.com/office/officeart/2005/8/layout/vList3"/>
    <dgm:cxn modelId="{6BAA9B27-207D-49FE-B6D5-17FF728A470A}" type="presParOf" srcId="{919ABAD5-D6D3-4520-93D0-98DB90F21B38}" destId="{F0F9A73E-7147-4589-AB07-A64536E1F5FE}" srcOrd="0" destOrd="0" presId="urn:microsoft.com/office/officeart/2005/8/layout/vList3"/>
    <dgm:cxn modelId="{676F3BED-FF88-4C0D-A306-32E8115F6E9D}" type="presParOf" srcId="{919ABAD5-D6D3-4520-93D0-98DB90F21B38}" destId="{90D81DE3-E483-4C6F-BBC2-EDC95D976ED1}" srcOrd="1" destOrd="0" presId="urn:microsoft.com/office/officeart/2005/8/layout/vList3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AB08CE41-F225-4550-A154-44D1B572C7A1}" type="doc">
      <dgm:prSet loTypeId="urn:microsoft.com/office/officeart/2005/8/layout/default" loCatId="list" qsTypeId="urn:microsoft.com/office/officeart/2005/8/quickstyle/simple1" qsCatId="simple" csTypeId="urn:microsoft.com/office/officeart/2005/8/colors/colorful1" csCatId="colorful" phldr="1"/>
      <dgm:spPr/>
      <dgm:t>
        <a:bodyPr/>
        <a:lstStyle/>
        <a:p>
          <a:endParaRPr lang="fr-FR"/>
        </a:p>
      </dgm:t>
    </dgm:pt>
    <dgm:pt modelId="{C3574600-8976-4487-B78A-114C1D7C9CFA}">
      <dgm:prSet phldrT="[Texte]"/>
      <dgm:spPr/>
      <dgm:t>
        <a:bodyPr/>
        <a:lstStyle/>
        <a:p>
          <a:r>
            <a:rPr lang="fr-FR" dirty="0" smtClean="0"/>
            <a:t>Produits et services</a:t>
          </a:r>
          <a:endParaRPr lang="fr-FR" dirty="0"/>
        </a:p>
      </dgm:t>
    </dgm:pt>
    <dgm:pt modelId="{67561265-01C6-49DE-BB9C-1CF23BAFDEA3}" type="parTrans" cxnId="{5BB8F7DC-8EBF-426F-A342-B76B29888389}">
      <dgm:prSet/>
      <dgm:spPr/>
      <dgm:t>
        <a:bodyPr/>
        <a:lstStyle/>
        <a:p>
          <a:endParaRPr lang="fr-FR"/>
        </a:p>
      </dgm:t>
    </dgm:pt>
    <dgm:pt modelId="{530DEF2C-198A-42F9-B12C-3883406411C0}" type="sibTrans" cxnId="{5BB8F7DC-8EBF-426F-A342-B76B29888389}">
      <dgm:prSet/>
      <dgm:spPr/>
      <dgm:t>
        <a:bodyPr/>
        <a:lstStyle/>
        <a:p>
          <a:endParaRPr lang="fr-FR"/>
        </a:p>
      </dgm:t>
    </dgm:pt>
    <dgm:pt modelId="{D4523CD0-62BB-4A59-B793-E8E2AF275D5E}">
      <dgm:prSet/>
      <dgm:spPr/>
      <dgm:t>
        <a:bodyPr/>
        <a:lstStyle/>
        <a:p>
          <a:r>
            <a:rPr lang="fr-FR" dirty="0" smtClean="0"/>
            <a:t>Evènements</a:t>
          </a:r>
          <a:endParaRPr lang="fr-FR" dirty="0"/>
        </a:p>
      </dgm:t>
    </dgm:pt>
    <dgm:pt modelId="{2814259E-C5E8-45D3-BF1E-83FB23B4811E}" type="parTrans" cxnId="{A824F160-3122-434D-8888-5A82AE1C7CBA}">
      <dgm:prSet/>
      <dgm:spPr/>
      <dgm:t>
        <a:bodyPr/>
        <a:lstStyle/>
        <a:p>
          <a:endParaRPr lang="fr-FR"/>
        </a:p>
      </dgm:t>
    </dgm:pt>
    <dgm:pt modelId="{9008A71C-1460-4CD9-B3E3-BCDC58F104D2}" type="sibTrans" cxnId="{A824F160-3122-434D-8888-5A82AE1C7CBA}">
      <dgm:prSet/>
      <dgm:spPr/>
      <dgm:t>
        <a:bodyPr/>
        <a:lstStyle/>
        <a:p>
          <a:endParaRPr lang="fr-FR"/>
        </a:p>
      </dgm:t>
    </dgm:pt>
    <dgm:pt modelId="{FE9D511C-CBBC-42F9-995B-974984C1221F}">
      <dgm:prSet/>
      <dgm:spPr/>
      <dgm:t>
        <a:bodyPr/>
        <a:lstStyle/>
        <a:p>
          <a:r>
            <a:rPr lang="fr-FR" dirty="0" smtClean="0"/>
            <a:t>Medias</a:t>
          </a:r>
          <a:endParaRPr lang="fr-FR" dirty="0"/>
        </a:p>
      </dgm:t>
    </dgm:pt>
    <dgm:pt modelId="{0B91F6DC-416A-42EE-A862-3EF72E20C92A}" type="parTrans" cxnId="{F75EBBA4-47F0-403B-AFAD-0A72AF16EC53}">
      <dgm:prSet/>
      <dgm:spPr/>
      <dgm:t>
        <a:bodyPr/>
        <a:lstStyle/>
        <a:p>
          <a:endParaRPr lang="fr-FR"/>
        </a:p>
      </dgm:t>
    </dgm:pt>
    <dgm:pt modelId="{833FC6B0-E4B3-46A7-8E28-E8946EB72D9E}" type="sibTrans" cxnId="{F75EBBA4-47F0-403B-AFAD-0A72AF16EC53}">
      <dgm:prSet/>
      <dgm:spPr/>
      <dgm:t>
        <a:bodyPr/>
        <a:lstStyle/>
        <a:p>
          <a:endParaRPr lang="fr-FR"/>
        </a:p>
      </dgm:t>
    </dgm:pt>
    <dgm:pt modelId="{2BC614F1-302D-4990-8152-91E23F67F436}">
      <dgm:prSet/>
      <dgm:spPr/>
      <dgm:t>
        <a:bodyPr/>
        <a:lstStyle/>
        <a:p>
          <a:r>
            <a:rPr lang="fr-FR" dirty="0" smtClean="0"/>
            <a:t>Collaborateurs</a:t>
          </a:r>
          <a:endParaRPr lang="fr-FR" dirty="0"/>
        </a:p>
      </dgm:t>
    </dgm:pt>
    <dgm:pt modelId="{D3F9DA05-465C-4AFD-A529-725F25FAA21E}" type="parTrans" cxnId="{1BA674C2-A3A7-4A20-BBAF-A2AF5B0C312B}">
      <dgm:prSet/>
      <dgm:spPr/>
      <dgm:t>
        <a:bodyPr/>
        <a:lstStyle/>
        <a:p>
          <a:endParaRPr lang="fr-FR"/>
        </a:p>
      </dgm:t>
    </dgm:pt>
    <dgm:pt modelId="{29E98D5B-CD9B-444C-B3F5-EFC318AC5B5C}" type="sibTrans" cxnId="{1BA674C2-A3A7-4A20-BBAF-A2AF5B0C312B}">
      <dgm:prSet/>
      <dgm:spPr/>
      <dgm:t>
        <a:bodyPr/>
        <a:lstStyle/>
        <a:p>
          <a:endParaRPr lang="fr-FR"/>
        </a:p>
      </dgm:t>
    </dgm:pt>
    <dgm:pt modelId="{A438B8F4-EF82-495C-BE23-344371FF4E44}">
      <dgm:prSet/>
      <dgm:spPr/>
      <dgm:t>
        <a:bodyPr/>
        <a:lstStyle/>
        <a:p>
          <a:r>
            <a:rPr lang="fr-FR" dirty="0" smtClean="0"/>
            <a:t>Dirigeants</a:t>
          </a:r>
          <a:endParaRPr lang="fr-FR" dirty="0"/>
        </a:p>
      </dgm:t>
    </dgm:pt>
    <dgm:pt modelId="{4C8433AB-202B-43F7-A71B-55295BC4D0A8}" type="parTrans" cxnId="{F62EBC68-659D-49E5-9D61-D72644A852AE}">
      <dgm:prSet/>
      <dgm:spPr/>
      <dgm:t>
        <a:bodyPr/>
        <a:lstStyle/>
        <a:p>
          <a:endParaRPr lang="fr-FR"/>
        </a:p>
      </dgm:t>
    </dgm:pt>
    <dgm:pt modelId="{7759FE51-BE56-41A0-B270-1AC65F853DFA}" type="sibTrans" cxnId="{F62EBC68-659D-49E5-9D61-D72644A852AE}">
      <dgm:prSet/>
      <dgm:spPr/>
      <dgm:t>
        <a:bodyPr/>
        <a:lstStyle/>
        <a:p>
          <a:endParaRPr lang="fr-FR"/>
        </a:p>
      </dgm:t>
    </dgm:pt>
    <dgm:pt modelId="{E4A0CAF8-943F-4026-82B6-CEDFCB1185DF}">
      <dgm:prSet/>
      <dgm:spPr/>
      <dgm:t>
        <a:bodyPr/>
        <a:lstStyle/>
        <a:p>
          <a:r>
            <a:rPr lang="fr-FR" smtClean="0"/>
            <a:t>Régulation</a:t>
          </a:r>
          <a:endParaRPr lang="fr-FR"/>
        </a:p>
      </dgm:t>
    </dgm:pt>
    <dgm:pt modelId="{6499B861-569B-4606-B039-B72220438881}" type="sibTrans" cxnId="{5B1DD4F2-231A-4F93-B17C-794E43F65D72}">
      <dgm:prSet/>
      <dgm:spPr/>
      <dgm:t>
        <a:bodyPr/>
        <a:lstStyle/>
        <a:p>
          <a:endParaRPr lang="fr-FR"/>
        </a:p>
      </dgm:t>
    </dgm:pt>
    <dgm:pt modelId="{D0260609-A082-4911-968F-1D4D5B9AD471}" type="parTrans" cxnId="{5B1DD4F2-231A-4F93-B17C-794E43F65D72}">
      <dgm:prSet/>
      <dgm:spPr/>
      <dgm:t>
        <a:bodyPr/>
        <a:lstStyle/>
        <a:p>
          <a:endParaRPr lang="fr-FR"/>
        </a:p>
      </dgm:t>
    </dgm:pt>
    <dgm:pt modelId="{27FEF2A6-AB01-4CE7-8726-A30486533E7F}">
      <dgm:prSet/>
      <dgm:spPr/>
      <dgm:t>
        <a:bodyPr/>
        <a:lstStyle/>
        <a:p>
          <a:r>
            <a:rPr lang="fr-FR" dirty="0" smtClean="0"/>
            <a:t>Bad Buzz</a:t>
          </a:r>
          <a:endParaRPr lang="fr-FR" dirty="0"/>
        </a:p>
      </dgm:t>
    </dgm:pt>
    <dgm:pt modelId="{88D73024-DA7B-4CCC-8A0F-C4FF88301774}" type="parTrans" cxnId="{7578778E-0F65-4D1C-B30C-0CD0F776C3E2}">
      <dgm:prSet/>
      <dgm:spPr/>
      <dgm:t>
        <a:bodyPr/>
        <a:lstStyle/>
        <a:p>
          <a:endParaRPr lang="fr-FR"/>
        </a:p>
      </dgm:t>
    </dgm:pt>
    <dgm:pt modelId="{FA6C37C8-DED4-4DF5-9C4C-E1103AFA639E}" type="sibTrans" cxnId="{7578778E-0F65-4D1C-B30C-0CD0F776C3E2}">
      <dgm:prSet/>
      <dgm:spPr/>
      <dgm:t>
        <a:bodyPr/>
        <a:lstStyle/>
        <a:p>
          <a:endParaRPr lang="fr-FR"/>
        </a:p>
      </dgm:t>
    </dgm:pt>
    <dgm:pt modelId="{153EAB81-D96C-4380-807A-56D44F39A31F}">
      <dgm:prSet/>
      <dgm:spPr/>
      <dgm:t>
        <a:bodyPr/>
        <a:lstStyle/>
        <a:p>
          <a:r>
            <a:rPr lang="fr-FR" dirty="0" smtClean="0"/>
            <a:t>Influenceurs</a:t>
          </a:r>
          <a:endParaRPr lang="fr-FR" dirty="0"/>
        </a:p>
      </dgm:t>
    </dgm:pt>
    <dgm:pt modelId="{F69AA951-342E-4E6F-88CB-20EE275D8A95}" type="parTrans" cxnId="{1B54397B-7912-4D58-A716-B9F2FE102AAF}">
      <dgm:prSet/>
      <dgm:spPr/>
      <dgm:t>
        <a:bodyPr/>
        <a:lstStyle/>
        <a:p>
          <a:endParaRPr lang="fr-FR"/>
        </a:p>
      </dgm:t>
    </dgm:pt>
    <dgm:pt modelId="{7C2FA149-D559-4CD5-8556-B6DCC52B8BBE}" type="sibTrans" cxnId="{1B54397B-7912-4D58-A716-B9F2FE102AAF}">
      <dgm:prSet/>
      <dgm:spPr/>
      <dgm:t>
        <a:bodyPr/>
        <a:lstStyle/>
        <a:p>
          <a:endParaRPr lang="fr-FR"/>
        </a:p>
      </dgm:t>
    </dgm:pt>
    <dgm:pt modelId="{4590D3A7-A649-490D-A692-DA5491066539}" type="pres">
      <dgm:prSet presAssocID="{AB08CE41-F225-4550-A154-44D1B572C7A1}" presName="diagram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3A02AD31-787E-4F25-8B02-CA70342C6E01}" type="pres">
      <dgm:prSet presAssocID="{C3574600-8976-4487-B78A-114C1D7C9CFA}" presName="node" presStyleLbl="node1" presStyleIdx="0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9D2425D-A4DE-40E4-9030-D2463464FC03}" type="pres">
      <dgm:prSet presAssocID="{530DEF2C-198A-42F9-B12C-3883406411C0}" presName="sibTrans" presStyleCnt="0"/>
      <dgm:spPr/>
    </dgm:pt>
    <dgm:pt modelId="{71D4ABFE-1F32-45A7-8FB7-2E032A61AED5}" type="pres">
      <dgm:prSet presAssocID="{D4523CD0-62BB-4A59-B793-E8E2AF275D5E}" presName="node" presStyleLbl="node1" presStyleIdx="1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C4E5467-2546-4454-9154-14EE29EBA0D2}" type="pres">
      <dgm:prSet presAssocID="{9008A71C-1460-4CD9-B3E3-BCDC58F104D2}" presName="sibTrans" presStyleCnt="0"/>
      <dgm:spPr/>
    </dgm:pt>
    <dgm:pt modelId="{7856EE12-DE7F-461C-BC37-5D65C5C75D27}" type="pres">
      <dgm:prSet presAssocID="{E4A0CAF8-943F-4026-82B6-CEDFCB1185DF}" presName="node" presStyleLbl="node1" presStyleIdx="2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38DD5AA-D66B-4B86-9EB9-1734DEBD5868}" type="pres">
      <dgm:prSet presAssocID="{6499B861-569B-4606-B039-B72220438881}" presName="sibTrans" presStyleCnt="0"/>
      <dgm:spPr/>
    </dgm:pt>
    <dgm:pt modelId="{BDB01944-95E5-47BF-BBC4-D1194CAC28F0}" type="pres">
      <dgm:prSet presAssocID="{FE9D511C-CBBC-42F9-995B-974984C1221F}" presName="node" presStyleLbl="node1" presStyleIdx="3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39BED70-D03E-4A6A-A015-604AF509B015}" type="pres">
      <dgm:prSet presAssocID="{833FC6B0-E4B3-46A7-8E28-E8946EB72D9E}" presName="sibTrans" presStyleCnt="0"/>
      <dgm:spPr/>
    </dgm:pt>
    <dgm:pt modelId="{13FFBD8A-8813-42BF-962A-31683B512565}" type="pres">
      <dgm:prSet presAssocID="{2BC614F1-302D-4990-8152-91E23F67F436}" presName="node" presStyleLbl="node1" presStyleIdx="4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8F38C88-D2C6-414E-9A65-29A345CE0052}" type="pres">
      <dgm:prSet presAssocID="{29E98D5B-CD9B-444C-B3F5-EFC318AC5B5C}" presName="sibTrans" presStyleCnt="0"/>
      <dgm:spPr/>
    </dgm:pt>
    <dgm:pt modelId="{15D17450-7970-4AA4-9559-12772E28D709}" type="pres">
      <dgm:prSet presAssocID="{A438B8F4-EF82-495C-BE23-344371FF4E44}" presName="node" presStyleLbl="node1" presStyleIdx="5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982AD69-FE3A-4D0F-90E8-95E9991E7473}" type="pres">
      <dgm:prSet presAssocID="{7759FE51-BE56-41A0-B270-1AC65F853DFA}" presName="sibTrans" presStyleCnt="0"/>
      <dgm:spPr/>
    </dgm:pt>
    <dgm:pt modelId="{00140BEE-DAEB-44A1-87E2-D6B234CCA495}" type="pres">
      <dgm:prSet presAssocID="{27FEF2A6-AB01-4CE7-8726-A30486533E7F}" presName="node" presStyleLbl="node1" presStyleIdx="6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63924F7-D4AA-429F-A91D-29CBF8537B51}" type="pres">
      <dgm:prSet presAssocID="{FA6C37C8-DED4-4DF5-9C4C-E1103AFA639E}" presName="sibTrans" presStyleCnt="0"/>
      <dgm:spPr/>
    </dgm:pt>
    <dgm:pt modelId="{FD29BAB3-F4FB-4F3D-9C30-C37353F90F8E}" type="pres">
      <dgm:prSet presAssocID="{153EAB81-D96C-4380-807A-56D44F39A31F}" presName="node" presStyleLbl="node1" presStyleIdx="7" presStyleCnt="8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1B54397B-7912-4D58-A716-B9F2FE102AAF}" srcId="{AB08CE41-F225-4550-A154-44D1B572C7A1}" destId="{153EAB81-D96C-4380-807A-56D44F39A31F}" srcOrd="7" destOrd="0" parTransId="{F69AA951-342E-4E6F-88CB-20EE275D8A95}" sibTransId="{7C2FA149-D559-4CD5-8556-B6DCC52B8BBE}"/>
    <dgm:cxn modelId="{4480AC4C-F307-4F66-A72F-24034A6E76B9}" type="presOf" srcId="{A438B8F4-EF82-495C-BE23-344371FF4E44}" destId="{15D17450-7970-4AA4-9559-12772E28D709}" srcOrd="0" destOrd="0" presId="urn:microsoft.com/office/officeart/2005/8/layout/default"/>
    <dgm:cxn modelId="{58E16A67-A67D-4C3D-B5EA-31015386ECCA}" type="presOf" srcId="{153EAB81-D96C-4380-807A-56D44F39A31F}" destId="{FD29BAB3-F4FB-4F3D-9C30-C37353F90F8E}" srcOrd="0" destOrd="0" presId="urn:microsoft.com/office/officeart/2005/8/layout/default"/>
    <dgm:cxn modelId="{00BBD646-CE1F-4B3B-9CF7-2862061F1BDC}" type="presOf" srcId="{AB08CE41-F225-4550-A154-44D1B572C7A1}" destId="{4590D3A7-A649-490D-A692-DA5491066539}" srcOrd="0" destOrd="0" presId="urn:microsoft.com/office/officeart/2005/8/layout/default"/>
    <dgm:cxn modelId="{A824F160-3122-434D-8888-5A82AE1C7CBA}" srcId="{AB08CE41-F225-4550-A154-44D1B572C7A1}" destId="{D4523CD0-62BB-4A59-B793-E8E2AF275D5E}" srcOrd="1" destOrd="0" parTransId="{2814259E-C5E8-45D3-BF1E-83FB23B4811E}" sibTransId="{9008A71C-1460-4CD9-B3E3-BCDC58F104D2}"/>
    <dgm:cxn modelId="{7578778E-0F65-4D1C-B30C-0CD0F776C3E2}" srcId="{AB08CE41-F225-4550-A154-44D1B572C7A1}" destId="{27FEF2A6-AB01-4CE7-8726-A30486533E7F}" srcOrd="6" destOrd="0" parTransId="{88D73024-DA7B-4CCC-8A0F-C4FF88301774}" sibTransId="{FA6C37C8-DED4-4DF5-9C4C-E1103AFA639E}"/>
    <dgm:cxn modelId="{F62EBC68-659D-49E5-9D61-D72644A852AE}" srcId="{AB08CE41-F225-4550-A154-44D1B572C7A1}" destId="{A438B8F4-EF82-495C-BE23-344371FF4E44}" srcOrd="5" destOrd="0" parTransId="{4C8433AB-202B-43F7-A71B-55295BC4D0A8}" sibTransId="{7759FE51-BE56-41A0-B270-1AC65F853DFA}"/>
    <dgm:cxn modelId="{7374D095-FE86-48E8-9494-3221E095BA4B}" type="presOf" srcId="{27FEF2A6-AB01-4CE7-8726-A30486533E7F}" destId="{00140BEE-DAEB-44A1-87E2-D6B234CCA495}" srcOrd="0" destOrd="0" presId="urn:microsoft.com/office/officeart/2005/8/layout/default"/>
    <dgm:cxn modelId="{AFFE17B9-57BC-4BE6-BE8C-4AE12AF84378}" type="presOf" srcId="{FE9D511C-CBBC-42F9-995B-974984C1221F}" destId="{BDB01944-95E5-47BF-BBC4-D1194CAC28F0}" srcOrd="0" destOrd="0" presId="urn:microsoft.com/office/officeart/2005/8/layout/default"/>
    <dgm:cxn modelId="{4A2F9AAA-FCCA-4E5F-BE5A-7488555A830C}" type="presOf" srcId="{E4A0CAF8-943F-4026-82B6-CEDFCB1185DF}" destId="{7856EE12-DE7F-461C-BC37-5D65C5C75D27}" srcOrd="0" destOrd="0" presId="urn:microsoft.com/office/officeart/2005/8/layout/default"/>
    <dgm:cxn modelId="{1BA674C2-A3A7-4A20-BBAF-A2AF5B0C312B}" srcId="{AB08CE41-F225-4550-A154-44D1B572C7A1}" destId="{2BC614F1-302D-4990-8152-91E23F67F436}" srcOrd="4" destOrd="0" parTransId="{D3F9DA05-465C-4AFD-A529-725F25FAA21E}" sibTransId="{29E98D5B-CD9B-444C-B3F5-EFC318AC5B5C}"/>
    <dgm:cxn modelId="{5B1DD4F2-231A-4F93-B17C-794E43F65D72}" srcId="{AB08CE41-F225-4550-A154-44D1B572C7A1}" destId="{E4A0CAF8-943F-4026-82B6-CEDFCB1185DF}" srcOrd="2" destOrd="0" parTransId="{D0260609-A082-4911-968F-1D4D5B9AD471}" sibTransId="{6499B861-569B-4606-B039-B72220438881}"/>
    <dgm:cxn modelId="{CDE0E095-AAC5-4CED-A2D2-D4951744ED03}" type="presOf" srcId="{D4523CD0-62BB-4A59-B793-E8E2AF275D5E}" destId="{71D4ABFE-1F32-45A7-8FB7-2E032A61AED5}" srcOrd="0" destOrd="0" presId="urn:microsoft.com/office/officeart/2005/8/layout/default"/>
    <dgm:cxn modelId="{5BB8F7DC-8EBF-426F-A342-B76B29888389}" srcId="{AB08CE41-F225-4550-A154-44D1B572C7A1}" destId="{C3574600-8976-4487-B78A-114C1D7C9CFA}" srcOrd="0" destOrd="0" parTransId="{67561265-01C6-49DE-BB9C-1CF23BAFDEA3}" sibTransId="{530DEF2C-198A-42F9-B12C-3883406411C0}"/>
    <dgm:cxn modelId="{386FBB74-4033-4FB3-AB3D-8756CE27525C}" type="presOf" srcId="{C3574600-8976-4487-B78A-114C1D7C9CFA}" destId="{3A02AD31-787E-4F25-8B02-CA70342C6E01}" srcOrd="0" destOrd="0" presId="urn:microsoft.com/office/officeart/2005/8/layout/default"/>
    <dgm:cxn modelId="{F75EBBA4-47F0-403B-AFAD-0A72AF16EC53}" srcId="{AB08CE41-F225-4550-A154-44D1B572C7A1}" destId="{FE9D511C-CBBC-42F9-995B-974984C1221F}" srcOrd="3" destOrd="0" parTransId="{0B91F6DC-416A-42EE-A862-3EF72E20C92A}" sibTransId="{833FC6B0-E4B3-46A7-8E28-E8946EB72D9E}"/>
    <dgm:cxn modelId="{706C34DD-C69D-4084-9840-C85F6749FDEF}" type="presOf" srcId="{2BC614F1-302D-4990-8152-91E23F67F436}" destId="{13FFBD8A-8813-42BF-962A-31683B512565}" srcOrd="0" destOrd="0" presId="urn:microsoft.com/office/officeart/2005/8/layout/default"/>
    <dgm:cxn modelId="{5C8E81A7-AF24-4F65-BD37-CEB3F0CDC9CA}" type="presParOf" srcId="{4590D3A7-A649-490D-A692-DA5491066539}" destId="{3A02AD31-787E-4F25-8B02-CA70342C6E01}" srcOrd="0" destOrd="0" presId="urn:microsoft.com/office/officeart/2005/8/layout/default"/>
    <dgm:cxn modelId="{FDF0743A-942B-4B5D-BBD5-8DF2D40BE5E6}" type="presParOf" srcId="{4590D3A7-A649-490D-A692-DA5491066539}" destId="{29D2425D-A4DE-40E4-9030-D2463464FC03}" srcOrd="1" destOrd="0" presId="urn:microsoft.com/office/officeart/2005/8/layout/default"/>
    <dgm:cxn modelId="{B3BDEA71-E7F2-4D5A-920E-75CA803F6907}" type="presParOf" srcId="{4590D3A7-A649-490D-A692-DA5491066539}" destId="{71D4ABFE-1F32-45A7-8FB7-2E032A61AED5}" srcOrd="2" destOrd="0" presId="urn:microsoft.com/office/officeart/2005/8/layout/default"/>
    <dgm:cxn modelId="{489006A8-34D2-4B7C-BB2E-06F2EC4219C1}" type="presParOf" srcId="{4590D3A7-A649-490D-A692-DA5491066539}" destId="{6C4E5467-2546-4454-9154-14EE29EBA0D2}" srcOrd="3" destOrd="0" presId="urn:microsoft.com/office/officeart/2005/8/layout/default"/>
    <dgm:cxn modelId="{F357C843-CB9C-4437-B8DD-E7BF435C7A2F}" type="presParOf" srcId="{4590D3A7-A649-490D-A692-DA5491066539}" destId="{7856EE12-DE7F-461C-BC37-5D65C5C75D27}" srcOrd="4" destOrd="0" presId="urn:microsoft.com/office/officeart/2005/8/layout/default"/>
    <dgm:cxn modelId="{CEDE6D01-19BA-4069-96CC-B98395950948}" type="presParOf" srcId="{4590D3A7-A649-490D-A692-DA5491066539}" destId="{938DD5AA-D66B-4B86-9EB9-1734DEBD5868}" srcOrd="5" destOrd="0" presId="urn:microsoft.com/office/officeart/2005/8/layout/default"/>
    <dgm:cxn modelId="{697D9871-661F-4C1D-BD20-40B7E3F7C7E0}" type="presParOf" srcId="{4590D3A7-A649-490D-A692-DA5491066539}" destId="{BDB01944-95E5-47BF-BBC4-D1194CAC28F0}" srcOrd="6" destOrd="0" presId="urn:microsoft.com/office/officeart/2005/8/layout/default"/>
    <dgm:cxn modelId="{7C56FA66-2C4E-4F65-A054-19310CF9C88B}" type="presParOf" srcId="{4590D3A7-A649-490D-A692-DA5491066539}" destId="{839BED70-D03E-4A6A-A015-604AF509B015}" srcOrd="7" destOrd="0" presId="urn:microsoft.com/office/officeart/2005/8/layout/default"/>
    <dgm:cxn modelId="{FD912C41-FB51-4E48-AE08-095E11AB0873}" type="presParOf" srcId="{4590D3A7-A649-490D-A692-DA5491066539}" destId="{13FFBD8A-8813-42BF-962A-31683B512565}" srcOrd="8" destOrd="0" presId="urn:microsoft.com/office/officeart/2005/8/layout/default"/>
    <dgm:cxn modelId="{4D288BBE-DAE1-4563-9D60-158C6E706633}" type="presParOf" srcId="{4590D3A7-A649-490D-A692-DA5491066539}" destId="{58F38C88-D2C6-414E-9A65-29A345CE0052}" srcOrd="9" destOrd="0" presId="urn:microsoft.com/office/officeart/2005/8/layout/default"/>
    <dgm:cxn modelId="{5FCF043A-047B-4345-AB53-2163E714E908}" type="presParOf" srcId="{4590D3A7-A649-490D-A692-DA5491066539}" destId="{15D17450-7970-4AA4-9559-12772E28D709}" srcOrd="10" destOrd="0" presId="urn:microsoft.com/office/officeart/2005/8/layout/default"/>
    <dgm:cxn modelId="{7D005EFA-C946-4B2F-A0AB-4B84F18C83DE}" type="presParOf" srcId="{4590D3A7-A649-490D-A692-DA5491066539}" destId="{2982AD69-FE3A-4D0F-90E8-95E9991E7473}" srcOrd="11" destOrd="0" presId="urn:microsoft.com/office/officeart/2005/8/layout/default"/>
    <dgm:cxn modelId="{4E478FD9-AEE1-4641-970F-DB5A165BF552}" type="presParOf" srcId="{4590D3A7-A649-490D-A692-DA5491066539}" destId="{00140BEE-DAEB-44A1-87E2-D6B234CCA495}" srcOrd="12" destOrd="0" presId="urn:microsoft.com/office/officeart/2005/8/layout/default"/>
    <dgm:cxn modelId="{DC753CEA-2BC2-4631-AD26-808BA3882CEA}" type="presParOf" srcId="{4590D3A7-A649-490D-A692-DA5491066539}" destId="{F63924F7-D4AA-429F-A91D-29CBF8537B51}" srcOrd="13" destOrd="0" presId="urn:microsoft.com/office/officeart/2005/8/layout/default"/>
    <dgm:cxn modelId="{B987BE30-554E-4095-A011-E25222EF44B5}" type="presParOf" srcId="{4590D3A7-A649-490D-A692-DA5491066539}" destId="{FD29BAB3-F4FB-4F3D-9C30-C37353F90F8E}" srcOrd="14" destOrd="0" presId="urn:microsoft.com/office/officeart/2005/8/layout/defaul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35A1DA-7C9A-4165-8C32-356F0AB6451A}" type="doc">
      <dgm:prSet loTypeId="urn:microsoft.com/office/officeart/2005/8/layout/hList6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DFE61939-C749-4816-BBD1-DED2D1950626}">
      <dgm:prSet phldrT="[Texte]"/>
      <dgm:spPr/>
      <dgm:t>
        <a:bodyPr/>
        <a:lstStyle/>
        <a:p>
          <a:r>
            <a:rPr lang="fr-FR" b="1" dirty="0" smtClean="0">
              <a:latin typeface="Helvetica 75 Bold" panose="020B0804020202020204" pitchFamily="34" charset="0"/>
              <a:ea typeface="Helvetica" charset="0"/>
              <a:cs typeface="Helvetica" charset="0"/>
            </a:rPr>
            <a:t>publique et spontanée</a:t>
          </a:r>
          <a:endParaRPr lang="fr-FR" dirty="0"/>
        </a:p>
      </dgm:t>
    </dgm:pt>
    <dgm:pt modelId="{E7695A9A-98A6-4F28-8A3B-310E5D66B19D}" type="parTrans" cxnId="{022C9A3C-3DCD-47BE-958A-DD61D427EB2D}">
      <dgm:prSet/>
      <dgm:spPr/>
      <dgm:t>
        <a:bodyPr/>
        <a:lstStyle/>
        <a:p>
          <a:endParaRPr lang="fr-FR"/>
        </a:p>
      </dgm:t>
    </dgm:pt>
    <dgm:pt modelId="{96DA770D-A36C-46D0-9025-05429E032EC3}" type="sibTrans" cxnId="{022C9A3C-3DCD-47BE-958A-DD61D427EB2D}">
      <dgm:prSet/>
      <dgm:spPr/>
      <dgm:t>
        <a:bodyPr/>
        <a:lstStyle/>
        <a:p>
          <a:endParaRPr lang="fr-FR"/>
        </a:p>
      </dgm:t>
    </dgm:pt>
    <dgm:pt modelId="{FDD86C9A-4CA2-4F27-B89D-362ABC8A31B1}">
      <dgm:prSet/>
      <dgm:spPr/>
      <dgm:t>
        <a:bodyPr/>
        <a:lstStyle/>
        <a:p>
          <a:pPr algn="l"/>
          <a:r>
            <a:rPr lang="fr-FR" b="1" dirty="0" smtClean="0">
              <a:latin typeface="Helvetica 75 Bold" panose="020B0804020202020204" pitchFamily="34" charset="0"/>
              <a:ea typeface="Helvetica" charset="0"/>
              <a:cs typeface="Helvetica" charset="0"/>
            </a:rPr>
            <a:t>structurée non structurée</a:t>
          </a:r>
        </a:p>
      </dgm:t>
    </dgm:pt>
    <dgm:pt modelId="{A38997A7-E9FA-4340-92DE-6B3474D377DF}" type="parTrans" cxnId="{43AEB9D2-7A85-4946-982D-C7244CFADB53}">
      <dgm:prSet/>
      <dgm:spPr/>
      <dgm:t>
        <a:bodyPr/>
        <a:lstStyle/>
        <a:p>
          <a:endParaRPr lang="fr-FR"/>
        </a:p>
      </dgm:t>
    </dgm:pt>
    <dgm:pt modelId="{87C73310-5098-4B5E-A513-832C9648D141}" type="sibTrans" cxnId="{43AEB9D2-7A85-4946-982D-C7244CFADB53}">
      <dgm:prSet/>
      <dgm:spPr/>
      <dgm:t>
        <a:bodyPr/>
        <a:lstStyle/>
        <a:p>
          <a:endParaRPr lang="fr-FR"/>
        </a:p>
      </dgm:t>
    </dgm:pt>
    <dgm:pt modelId="{4AF43F4B-5624-44A1-AAC4-2F7DBE2E216F}">
      <dgm:prSet/>
      <dgm:spPr/>
      <dgm:t>
        <a:bodyPr/>
        <a:lstStyle/>
        <a:p>
          <a:r>
            <a:rPr lang="fr-FR" b="1" dirty="0" smtClean="0">
              <a:latin typeface="Helvetica 75 Bold" panose="020B0804020202020204" pitchFamily="34" charset="0"/>
              <a:ea typeface="Helvetica" charset="0"/>
              <a:cs typeface="Helvetica" charset="0"/>
            </a:rPr>
            <a:t>temps réel</a:t>
          </a:r>
        </a:p>
      </dgm:t>
    </dgm:pt>
    <dgm:pt modelId="{0F231236-A316-4FEB-B6E1-51D50F6C51B7}" type="parTrans" cxnId="{34C8ECDE-EB0B-4495-B748-AFC56DCF5190}">
      <dgm:prSet/>
      <dgm:spPr/>
      <dgm:t>
        <a:bodyPr/>
        <a:lstStyle/>
        <a:p>
          <a:endParaRPr lang="fr-FR"/>
        </a:p>
      </dgm:t>
    </dgm:pt>
    <dgm:pt modelId="{BCCAF579-0D44-4CC7-8C46-E187A2D5A43F}" type="sibTrans" cxnId="{34C8ECDE-EB0B-4495-B748-AFC56DCF5190}">
      <dgm:prSet/>
      <dgm:spPr/>
      <dgm:t>
        <a:bodyPr/>
        <a:lstStyle/>
        <a:p>
          <a:endParaRPr lang="fr-FR"/>
        </a:p>
      </dgm:t>
    </dgm:pt>
    <dgm:pt modelId="{182F72D1-2457-4F9B-86E2-1483E8A238B1}">
      <dgm:prSet/>
      <dgm:spPr/>
      <dgm:t>
        <a:bodyPr/>
        <a:lstStyle/>
        <a:p>
          <a:r>
            <a:rPr lang="fr-FR" b="1" dirty="0" smtClean="0">
              <a:latin typeface="Helvetica 75 Bold" panose="020B0804020202020204" pitchFamily="34" charset="0"/>
              <a:ea typeface="Helvetica" charset="0"/>
              <a:cs typeface="Helvetica" charset="0"/>
            </a:rPr>
            <a:t>volumineuse</a:t>
          </a:r>
        </a:p>
      </dgm:t>
    </dgm:pt>
    <dgm:pt modelId="{044280BE-0138-40ED-8AED-52AE285E41AA}" type="parTrans" cxnId="{05D3E983-56E5-4D29-B4DC-9BB172201C94}">
      <dgm:prSet/>
      <dgm:spPr/>
      <dgm:t>
        <a:bodyPr/>
        <a:lstStyle/>
        <a:p>
          <a:endParaRPr lang="fr-FR"/>
        </a:p>
      </dgm:t>
    </dgm:pt>
    <dgm:pt modelId="{277140F0-507E-423C-9E25-479E3715AFF4}" type="sibTrans" cxnId="{05D3E983-56E5-4D29-B4DC-9BB172201C94}">
      <dgm:prSet/>
      <dgm:spPr/>
      <dgm:t>
        <a:bodyPr/>
        <a:lstStyle/>
        <a:p>
          <a:endParaRPr lang="fr-FR"/>
        </a:p>
      </dgm:t>
    </dgm:pt>
    <dgm:pt modelId="{2B4DC752-87AD-4123-B10A-0D825ED31FEA}">
      <dgm:prSet/>
      <dgm:spPr/>
      <dgm:t>
        <a:bodyPr/>
        <a:lstStyle/>
        <a:p>
          <a:r>
            <a:rPr lang="fr-FR" b="1" dirty="0" smtClean="0">
              <a:latin typeface="Helvetica 75 Bold" panose="020B0804020202020204" pitchFamily="34" charset="0"/>
              <a:ea typeface="Helvetica" charset="0"/>
              <a:cs typeface="Helvetica" charset="0"/>
            </a:rPr>
            <a:t>bruitée (</a:t>
          </a:r>
          <a:r>
            <a:rPr lang="fr-FR" b="1" dirty="0" err="1" smtClean="0">
              <a:latin typeface="Helvetica 75 Bold" panose="020B0804020202020204" pitchFamily="34" charset="0"/>
              <a:ea typeface="Helvetica" charset="0"/>
              <a:cs typeface="Helvetica" charset="0"/>
            </a:rPr>
            <a:t>Junks</a:t>
          </a:r>
          <a:r>
            <a:rPr lang="fr-FR" b="1" dirty="0" smtClean="0">
              <a:latin typeface="Helvetica 75 Bold" panose="020B0804020202020204" pitchFamily="34" charset="0"/>
              <a:ea typeface="Helvetica" charset="0"/>
              <a:cs typeface="Helvetica" charset="0"/>
            </a:rPr>
            <a:t> News, </a:t>
          </a:r>
          <a:r>
            <a:rPr lang="fr-FR" b="1" dirty="0" err="1" smtClean="0">
              <a:latin typeface="Helvetica 75 Bold" panose="020B0804020202020204" pitchFamily="34" charset="0"/>
              <a:ea typeface="Helvetica" charset="0"/>
              <a:cs typeface="Helvetica" charset="0"/>
            </a:rPr>
            <a:t>Fake</a:t>
          </a:r>
          <a:r>
            <a:rPr lang="fr-FR" b="1" dirty="0" smtClean="0">
              <a:latin typeface="Helvetica 75 Bold" panose="020B0804020202020204" pitchFamily="34" charset="0"/>
              <a:ea typeface="Helvetica" charset="0"/>
              <a:cs typeface="Helvetica" charset="0"/>
            </a:rPr>
            <a:t> </a:t>
          </a:r>
          <a:r>
            <a:rPr lang="fr-FR" b="1" dirty="0" err="1" smtClean="0">
              <a:latin typeface="Helvetica 75 Bold" panose="020B0804020202020204" pitchFamily="34" charset="0"/>
              <a:ea typeface="Helvetica" charset="0"/>
              <a:cs typeface="Helvetica" charset="0"/>
            </a:rPr>
            <a:t>Accounts</a:t>
          </a:r>
          <a:r>
            <a:rPr lang="fr-FR" b="1" dirty="0" smtClean="0">
              <a:latin typeface="Helvetica 75 Bold" panose="020B0804020202020204" pitchFamily="34" charset="0"/>
              <a:ea typeface="Helvetica" charset="0"/>
              <a:cs typeface="Helvetica" charset="0"/>
            </a:rPr>
            <a:t>)</a:t>
          </a:r>
          <a:endParaRPr lang="fr-FR" b="1" dirty="0">
            <a:latin typeface="Helvetica 75 Bold" panose="020B0804020202020204" pitchFamily="34" charset="0"/>
            <a:ea typeface="Helvetica" charset="0"/>
            <a:cs typeface="Helvetica" charset="0"/>
          </a:endParaRPr>
        </a:p>
      </dgm:t>
    </dgm:pt>
    <dgm:pt modelId="{CB91B698-A8E1-445B-9B93-7A18A1DE4E96}" type="parTrans" cxnId="{80044A92-D1A9-4BE0-9BEC-6CA121015122}">
      <dgm:prSet/>
      <dgm:spPr/>
      <dgm:t>
        <a:bodyPr/>
        <a:lstStyle/>
        <a:p>
          <a:endParaRPr lang="fr-FR"/>
        </a:p>
      </dgm:t>
    </dgm:pt>
    <dgm:pt modelId="{1D192B22-8BE6-4DC8-ACE2-C4B0DF654C88}" type="sibTrans" cxnId="{80044A92-D1A9-4BE0-9BEC-6CA121015122}">
      <dgm:prSet/>
      <dgm:spPr/>
      <dgm:t>
        <a:bodyPr/>
        <a:lstStyle/>
        <a:p>
          <a:endParaRPr lang="fr-FR"/>
        </a:p>
      </dgm:t>
    </dgm:pt>
    <dgm:pt modelId="{748E4AFC-4D5B-4CDE-965C-9C82C30784F6}" type="pres">
      <dgm:prSet presAssocID="{3735A1DA-7C9A-4165-8C32-356F0AB6451A}" presName="Name0" presStyleCnt="0">
        <dgm:presLayoutVars>
          <dgm:dir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17EB1008-F6F1-4533-AEDE-7253422EBEEE}" type="pres">
      <dgm:prSet presAssocID="{DFE61939-C749-4816-BBD1-DED2D1950626}" presName="node" presStyleLbl="node1" presStyleIdx="0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B8B9505-B395-4CA7-9D91-5142F3FFB61D}" type="pres">
      <dgm:prSet presAssocID="{96DA770D-A36C-46D0-9025-05429E032EC3}" presName="sibTrans" presStyleCnt="0"/>
      <dgm:spPr/>
    </dgm:pt>
    <dgm:pt modelId="{9F425548-CAAB-4FAB-B8C6-15D8C310C9F4}" type="pres">
      <dgm:prSet presAssocID="{FDD86C9A-4CA2-4F27-B89D-362ABC8A31B1}" presName="node" presStyleLbl="node1" presStyleIdx="1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EB1EC0D9-F600-4105-8943-6D5EE84E92A1}" type="pres">
      <dgm:prSet presAssocID="{87C73310-5098-4B5E-A513-832C9648D141}" presName="sibTrans" presStyleCnt="0"/>
      <dgm:spPr/>
    </dgm:pt>
    <dgm:pt modelId="{377C6847-57CE-4C0C-B979-82287D8DE458}" type="pres">
      <dgm:prSet presAssocID="{4AF43F4B-5624-44A1-AAC4-2F7DBE2E216F}" presName="node" presStyleLbl="node1" presStyleIdx="2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9B118BB-AF13-43B4-B6FC-9942E07476D9}" type="pres">
      <dgm:prSet presAssocID="{BCCAF579-0D44-4CC7-8C46-E187A2D5A43F}" presName="sibTrans" presStyleCnt="0"/>
      <dgm:spPr/>
    </dgm:pt>
    <dgm:pt modelId="{E5F260B1-85E9-4080-B5B7-E4CB96206990}" type="pres">
      <dgm:prSet presAssocID="{182F72D1-2457-4F9B-86E2-1483E8A238B1}" presName="node" presStyleLbl="node1" presStyleIdx="3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D833F9DD-F2BD-4F47-879E-18DD3569EE75}" type="pres">
      <dgm:prSet presAssocID="{277140F0-507E-423C-9E25-479E3715AFF4}" presName="sibTrans" presStyleCnt="0"/>
      <dgm:spPr/>
    </dgm:pt>
    <dgm:pt modelId="{177FA7B1-2144-44EF-8B68-1678CF9A2B64}" type="pres">
      <dgm:prSet presAssocID="{2B4DC752-87AD-4123-B10A-0D825ED31FEA}" presName="node" presStyleLbl="node1" presStyleIdx="4" presStyleCnt="5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43AEB9D2-7A85-4946-982D-C7244CFADB53}" srcId="{3735A1DA-7C9A-4165-8C32-356F0AB6451A}" destId="{FDD86C9A-4CA2-4F27-B89D-362ABC8A31B1}" srcOrd="1" destOrd="0" parTransId="{A38997A7-E9FA-4340-92DE-6B3474D377DF}" sibTransId="{87C73310-5098-4B5E-A513-832C9648D141}"/>
    <dgm:cxn modelId="{461B9411-7C03-4019-A773-EFA757C11688}" type="presOf" srcId="{182F72D1-2457-4F9B-86E2-1483E8A238B1}" destId="{E5F260B1-85E9-4080-B5B7-E4CB96206990}" srcOrd="0" destOrd="0" presId="urn:microsoft.com/office/officeart/2005/8/layout/hList6"/>
    <dgm:cxn modelId="{34C8ECDE-EB0B-4495-B748-AFC56DCF5190}" srcId="{3735A1DA-7C9A-4165-8C32-356F0AB6451A}" destId="{4AF43F4B-5624-44A1-AAC4-2F7DBE2E216F}" srcOrd="2" destOrd="0" parTransId="{0F231236-A316-4FEB-B6E1-51D50F6C51B7}" sibTransId="{BCCAF579-0D44-4CC7-8C46-E187A2D5A43F}"/>
    <dgm:cxn modelId="{C954BFC6-3142-464E-80A0-5C8A12DCC021}" type="presOf" srcId="{DFE61939-C749-4816-BBD1-DED2D1950626}" destId="{17EB1008-F6F1-4533-AEDE-7253422EBEEE}" srcOrd="0" destOrd="0" presId="urn:microsoft.com/office/officeart/2005/8/layout/hList6"/>
    <dgm:cxn modelId="{E95AD889-6F67-41D4-80D4-B09DCE59B233}" type="presOf" srcId="{FDD86C9A-4CA2-4F27-B89D-362ABC8A31B1}" destId="{9F425548-CAAB-4FAB-B8C6-15D8C310C9F4}" srcOrd="0" destOrd="0" presId="urn:microsoft.com/office/officeart/2005/8/layout/hList6"/>
    <dgm:cxn modelId="{80044A92-D1A9-4BE0-9BEC-6CA121015122}" srcId="{3735A1DA-7C9A-4165-8C32-356F0AB6451A}" destId="{2B4DC752-87AD-4123-B10A-0D825ED31FEA}" srcOrd="4" destOrd="0" parTransId="{CB91B698-A8E1-445B-9B93-7A18A1DE4E96}" sibTransId="{1D192B22-8BE6-4DC8-ACE2-C4B0DF654C88}"/>
    <dgm:cxn modelId="{945880D9-1B39-447C-BEFA-F4A9DE2CF083}" type="presOf" srcId="{4AF43F4B-5624-44A1-AAC4-2F7DBE2E216F}" destId="{377C6847-57CE-4C0C-B979-82287D8DE458}" srcOrd="0" destOrd="0" presId="urn:microsoft.com/office/officeart/2005/8/layout/hList6"/>
    <dgm:cxn modelId="{4667387A-E056-499E-9EA5-CBE608950FFE}" type="presOf" srcId="{3735A1DA-7C9A-4165-8C32-356F0AB6451A}" destId="{748E4AFC-4D5B-4CDE-965C-9C82C30784F6}" srcOrd="0" destOrd="0" presId="urn:microsoft.com/office/officeart/2005/8/layout/hList6"/>
    <dgm:cxn modelId="{191C3FA4-F2C5-42CE-81BE-85DB62357CE8}" type="presOf" srcId="{2B4DC752-87AD-4123-B10A-0D825ED31FEA}" destId="{177FA7B1-2144-44EF-8B68-1678CF9A2B64}" srcOrd="0" destOrd="0" presId="urn:microsoft.com/office/officeart/2005/8/layout/hList6"/>
    <dgm:cxn modelId="{05D3E983-56E5-4D29-B4DC-9BB172201C94}" srcId="{3735A1DA-7C9A-4165-8C32-356F0AB6451A}" destId="{182F72D1-2457-4F9B-86E2-1483E8A238B1}" srcOrd="3" destOrd="0" parTransId="{044280BE-0138-40ED-8AED-52AE285E41AA}" sibTransId="{277140F0-507E-423C-9E25-479E3715AFF4}"/>
    <dgm:cxn modelId="{022C9A3C-3DCD-47BE-958A-DD61D427EB2D}" srcId="{3735A1DA-7C9A-4165-8C32-356F0AB6451A}" destId="{DFE61939-C749-4816-BBD1-DED2D1950626}" srcOrd="0" destOrd="0" parTransId="{E7695A9A-98A6-4F28-8A3B-310E5D66B19D}" sibTransId="{96DA770D-A36C-46D0-9025-05429E032EC3}"/>
    <dgm:cxn modelId="{BC8DB60C-492C-40A2-B66F-436902750D67}" type="presParOf" srcId="{748E4AFC-4D5B-4CDE-965C-9C82C30784F6}" destId="{17EB1008-F6F1-4533-AEDE-7253422EBEEE}" srcOrd="0" destOrd="0" presId="urn:microsoft.com/office/officeart/2005/8/layout/hList6"/>
    <dgm:cxn modelId="{3AB3C19A-C12C-4B6F-A198-DFB057D8EEB2}" type="presParOf" srcId="{748E4AFC-4D5B-4CDE-965C-9C82C30784F6}" destId="{0B8B9505-B395-4CA7-9D91-5142F3FFB61D}" srcOrd="1" destOrd="0" presId="urn:microsoft.com/office/officeart/2005/8/layout/hList6"/>
    <dgm:cxn modelId="{7D892165-ED45-45AC-8E09-2D2B9BCE7EC1}" type="presParOf" srcId="{748E4AFC-4D5B-4CDE-965C-9C82C30784F6}" destId="{9F425548-CAAB-4FAB-B8C6-15D8C310C9F4}" srcOrd="2" destOrd="0" presId="urn:microsoft.com/office/officeart/2005/8/layout/hList6"/>
    <dgm:cxn modelId="{83EF9F03-8489-4657-BAE1-5D2B8AABD10D}" type="presParOf" srcId="{748E4AFC-4D5B-4CDE-965C-9C82C30784F6}" destId="{EB1EC0D9-F600-4105-8943-6D5EE84E92A1}" srcOrd="3" destOrd="0" presId="urn:microsoft.com/office/officeart/2005/8/layout/hList6"/>
    <dgm:cxn modelId="{F7EB33AD-AAFF-4007-ABBF-00A41FAB1A97}" type="presParOf" srcId="{748E4AFC-4D5B-4CDE-965C-9C82C30784F6}" destId="{377C6847-57CE-4C0C-B979-82287D8DE458}" srcOrd="4" destOrd="0" presId="urn:microsoft.com/office/officeart/2005/8/layout/hList6"/>
    <dgm:cxn modelId="{50CD6ECA-1A8D-4D48-BFB0-E2477CD51C1E}" type="presParOf" srcId="{748E4AFC-4D5B-4CDE-965C-9C82C30784F6}" destId="{19B118BB-AF13-43B4-B6FC-9942E07476D9}" srcOrd="5" destOrd="0" presId="urn:microsoft.com/office/officeart/2005/8/layout/hList6"/>
    <dgm:cxn modelId="{3FE90DA9-09B5-4BA6-B07E-19D73D82CEA0}" type="presParOf" srcId="{748E4AFC-4D5B-4CDE-965C-9C82C30784F6}" destId="{E5F260B1-85E9-4080-B5B7-E4CB96206990}" srcOrd="6" destOrd="0" presId="urn:microsoft.com/office/officeart/2005/8/layout/hList6"/>
    <dgm:cxn modelId="{ED0541A0-1739-450A-871D-B51B14E9F00E}" type="presParOf" srcId="{748E4AFC-4D5B-4CDE-965C-9C82C30784F6}" destId="{D833F9DD-F2BD-4F47-879E-18DD3569EE75}" srcOrd="7" destOrd="0" presId="urn:microsoft.com/office/officeart/2005/8/layout/hList6"/>
    <dgm:cxn modelId="{D16154A9-BFF3-4F00-978F-3C979304B9AC}" type="presParOf" srcId="{748E4AFC-4D5B-4CDE-965C-9C82C30784F6}" destId="{177FA7B1-2144-44EF-8B68-1678CF9A2B64}" srcOrd="8" destOrd="0" presId="urn:microsoft.com/office/officeart/2005/8/layout/hList6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F15AD7E-D54C-4EFF-84AF-2FAFF5DF7837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1B8431CB-3669-455C-8D5F-6223AD57C667}">
      <dgm:prSet phldrT="[Texte]"/>
      <dgm:spPr/>
      <dgm:t>
        <a:bodyPr/>
        <a:lstStyle/>
        <a:p>
          <a:r>
            <a:rPr lang="fr-FR" dirty="0" smtClean="0">
              <a:latin typeface="Arial" charset="0"/>
              <a:ea typeface="Arial" charset="0"/>
              <a:cs typeface="Arial" charset="0"/>
            </a:rPr>
            <a:t>Comment collecter l’opinion du Web et des réseaux sociaux ?</a:t>
          </a:r>
          <a:endParaRPr lang="fr-FR" dirty="0"/>
        </a:p>
      </dgm:t>
    </dgm:pt>
    <dgm:pt modelId="{20EA9AE7-854C-4BB4-A33E-C64B4FF21C67}" type="parTrans" cxnId="{053AEE3B-96EB-4C5F-B3AA-FC2E16CC74AA}">
      <dgm:prSet/>
      <dgm:spPr/>
      <dgm:t>
        <a:bodyPr/>
        <a:lstStyle/>
        <a:p>
          <a:endParaRPr lang="fr-FR"/>
        </a:p>
      </dgm:t>
    </dgm:pt>
    <dgm:pt modelId="{9037C6F8-DB1C-4444-BE9C-7457514D6B01}" type="sibTrans" cxnId="{053AEE3B-96EB-4C5F-B3AA-FC2E16CC74AA}">
      <dgm:prSet/>
      <dgm:spPr/>
      <dgm:t>
        <a:bodyPr/>
        <a:lstStyle/>
        <a:p>
          <a:endParaRPr lang="fr-FR"/>
        </a:p>
      </dgm:t>
    </dgm:pt>
    <dgm:pt modelId="{FB6FC3E0-062A-4F25-921F-44E2CE779E58}">
      <dgm:prSet/>
      <dgm:spPr/>
      <dgm:t>
        <a:bodyPr/>
        <a:lstStyle/>
        <a:p>
          <a:r>
            <a:rPr lang="fr-FR" dirty="0" smtClean="0">
              <a:latin typeface="Arial" charset="0"/>
              <a:ea typeface="Arial" charset="0"/>
              <a:cs typeface="Arial" charset="0"/>
            </a:rPr>
            <a:t>Comment diffuser la Voix du Client au sein de l’Entreprise ?</a:t>
          </a:r>
          <a:endParaRPr lang="fr-FR" dirty="0">
            <a:latin typeface="Arial" charset="0"/>
            <a:ea typeface="Arial" charset="0"/>
            <a:cs typeface="Arial" charset="0"/>
          </a:endParaRPr>
        </a:p>
      </dgm:t>
    </dgm:pt>
    <dgm:pt modelId="{5A0959DD-AE0E-4A2E-AF92-041014F74B4F}" type="parTrans" cxnId="{233361CD-98BD-46EC-ACA3-D01E4B3C6BDF}">
      <dgm:prSet/>
      <dgm:spPr/>
      <dgm:t>
        <a:bodyPr/>
        <a:lstStyle/>
        <a:p>
          <a:endParaRPr lang="fr-FR"/>
        </a:p>
      </dgm:t>
    </dgm:pt>
    <dgm:pt modelId="{B8C869F6-BC96-40FC-BC62-F97998DF6CD1}" type="sibTrans" cxnId="{233361CD-98BD-46EC-ACA3-D01E4B3C6BDF}">
      <dgm:prSet/>
      <dgm:spPr/>
      <dgm:t>
        <a:bodyPr/>
        <a:lstStyle/>
        <a:p>
          <a:endParaRPr lang="fr-FR"/>
        </a:p>
      </dgm:t>
    </dgm:pt>
    <dgm:pt modelId="{0FD5F1F5-FE7C-478C-8DCD-A8CD26613F7F}">
      <dgm:prSet/>
      <dgm:spPr/>
      <dgm:t>
        <a:bodyPr/>
        <a:lstStyle/>
        <a:p>
          <a:r>
            <a:rPr lang="fr-FR" dirty="0" smtClean="0">
              <a:latin typeface="Arial" charset="0"/>
              <a:ea typeface="Arial" charset="0"/>
              <a:cs typeface="Arial" charset="0"/>
            </a:rPr>
            <a:t>Comment placer le client au centre des opérations de communication et marketing</a:t>
          </a:r>
          <a:endParaRPr lang="fr-FR" dirty="0">
            <a:latin typeface="Arial" charset="0"/>
            <a:ea typeface="Arial" charset="0"/>
            <a:cs typeface="Arial" charset="0"/>
          </a:endParaRPr>
        </a:p>
      </dgm:t>
    </dgm:pt>
    <dgm:pt modelId="{06B4C6DE-4977-4A2A-B166-F0AC1A38EAEC}" type="parTrans" cxnId="{94FF994F-AE76-4519-867D-9AAFC090424F}">
      <dgm:prSet/>
      <dgm:spPr/>
      <dgm:t>
        <a:bodyPr/>
        <a:lstStyle/>
        <a:p>
          <a:endParaRPr lang="fr-FR"/>
        </a:p>
      </dgm:t>
    </dgm:pt>
    <dgm:pt modelId="{E99483C8-A7F3-424A-A019-C2A15F58B7B6}" type="sibTrans" cxnId="{94FF994F-AE76-4519-867D-9AAFC090424F}">
      <dgm:prSet/>
      <dgm:spPr/>
      <dgm:t>
        <a:bodyPr/>
        <a:lstStyle/>
        <a:p>
          <a:endParaRPr lang="fr-FR"/>
        </a:p>
      </dgm:t>
    </dgm:pt>
    <dgm:pt modelId="{0F4C3903-9C92-46E7-823F-9AC1EA489AD7}" type="pres">
      <dgm:prSet presAssocID="{3F15AD7E-D54C-4EFF-84AF-2FAFF5DF7837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E5325B1B-2D7E-42F0-9136-6E4E599ABA37}" type="pres">
      <dgm:prSet presAssocID="{3F15AD7E-D54C-4EFF-84AF-2FAFF5DF7837}" presName="Name1" presStyleCnt="0"/>
      <dgm:spPr/>
    </dgm:pt>
    <dgm:pt modelId="{AFA1996C-F428-4C44-A69D-C7AF51F6BF32}" type="pres">
      <dgm:prSet presAssocID="{3F15AD7E-D54C-4EFF-84AF-2FAFF5DF7837}" presName="cycle" presStyleCnt="0"/>
      <dgm:spPr/>
    </dgm:pt>
    <dgm:pt modelId="{7FD07218-5A60-47F6-8A91-FA3917B71A29}" type="pres">
      <dgm:prSet presAssocID="{3F15AD7E-D54C-4EFF-84AF-2FAFF5DF7837}" presName="srcNode" presStyleLbl="node1" presStyleIdx="0" presStyleCnt="3"/>
      <dgm:spPr/>
    </dgm:pt>
    <dgm:pt modelId="{0EE23D0A-2E24-4B35-A53B-7F9C748A1A22}" type="pres">
      <dgm:prSet presAssocID="{3F15AD7E-D54C-4EFF-84AF-2FAFF5DF7837}" presName="conn" presStyleLbl="parChTrans1D2" presStyleIdx="0" presStyleCnt="1"/>
      <dgm:spPr/>
      <dgm:t>
        <a:bodyPr/>
        <a:lstStyle/>
        <a:p>
          <a:endParaRPr lang="fr-FR"/>
        </a:p>
      </dgm:t>
    </dgm:pt>
    <dgm:pt modelId="{F534ED5A-9D2C-4ED6-B81C-31FF9BD452BD}" type="pres">
      <dgm:prSet presAssocID="{3F15AD7E-D54C-4EFF-84AF-2FAFF5DF7837}" presName="extraNode" presStyleLbl="node1" presStyleIdx="0" presStyleCnt="3"/>
      <dgm:spPr/>
    </dgm:pt>
    <dgm:pt modelId="{049871FF-0DF5-45B3-996A-73177877E56F}" type="pres">
      <dgm:prSet presAssocID="{3F15AD7E-D54C-4EFF-84AF-2FAFF5DF7837}" presName="dstNode" presStyleLbl="node1" presStyleIdx="0" presStyleCnt="3"/>
      <dgm:spPr/>
    </dgm:pt>
    <dgm:pt modelId="{0A3EC0BB-4457-4451-BFE3-1C12341643B6}" type="pres">
      <dgm:prSet presAssocID="{1B8431CB-3669-455C-8D5F-6223AD57C667}" presName="text_1" presStyleLbl="node1" presStyleIdx="0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BC501DD-50CB-498F-A530-57EDD4620536}" type="pres">
      <dgm:prSet presAssocID="{1B8431CB-3669-455C-8D5F-6223AD57C667}" presName="accent_1" presStyleCnt="0"/>
      <dgm:spPr/>
    </dgm:pt>
    <dgm:pt modelId="{8ADFCCBB-5D98-4E5D-8886-F9D2D1A65D6B}" type="pres">
      <dgm:prSet presAssocID="{1B8431CB-3669-455C-8D5F-6223AD57C667}" presName="accentRepeatNode" presStyleLbl="solidFgAcc1" presStyleIdx="0" presStyleCnt="3"/>
      <dgm:spPr>
        <a:blipFill rotWithShape="0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5A015D74-D565-41FE-8BBD-82A16352EB4B}" type="pres">
      <dgm:prSet presAssocID="{FB6FC3E0-062A-4F25-921F-44E2CE779E58}" presName="text_2" presStyleLbl="node1" presStyleIdx="1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5F087A85-98B7-4253-85D5-8205B289136C}" type="pres">
      <dgm:prSet presAssocID="{FB6FC3E0-062A-4F25-921F-44E2CE779E58}" presName="accent_2" presStyleCnt="0"/>
      <dgm:spPr/>
    </dgm:pt>
    <dgm:pt modelId="{9AF4BFBE-590B-426C-994E-CAD073675D23}" type="pres">
      <dgm:prSet presAssocID="{FB6FC3E0-062A-4F25-921F-44E2CE779E58}" presName="accentRepeatNode" presStyleLbl="solidFgAcc1" presStyleIdx="1" presStyleCnt="3"/>
      <dgm:spPr>
        <a:blipFill rotWithShape="0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fr-FR"/>
        </a:p>
      </dgm:t>
    </dgm:pt>
    <dgm:pt modelId="{B323E1E0-D813-4FC8-9458-4E73CB1D21C3}" type="pres">
      <dgm:prSet presAssocID="{0FD5F1F5-FE7C-478C-8DCD-A8CD26613F7F}" presName="text_3" presStyleLbl="node1" presStyleIdx="2" presStyleCnt="3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A8072926-8DAE-4920-8676-C68045989A21}" type="pres">
      <dgm:prSet presAssocID="{0FD5F1F5-FE7C-478C-8DCD-A8CD26613F7F}" presName="accent_3" presStyleCnt="0"/>
      <dgm:spPr/>
    </dgm:pt>
    <dgm:pt modelId="{606D2775-1E7B-4167-9159-72F069E1D202}" type="pres">
      <dgm:prSet presAssocID="{0FD5F1F5-FE7C-478C-8DCD-A8CD26613F7F}" presName="accentRepeatNode" presStyleLbl="solidFgAcc1" presStyleIdx="2" presStyleCnt="3"/>
      <dgm:spPr>
        <a:blipFill rotWithShape="0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  <dgm:t>
        <a:bodyPr/>
        <a:lstStyle/>
        <a:p>
          <a:endParaRPr lang="fr-FR"/>
        </a:p>
      </dgm:t>
    </dgm:pt>
  </dgm:ptLst>
  <dgm:cxnLst>
    <dgm:cxn modelId="{9D627C53-A095-4A3A-89E2-F25F0A194C72}" type="presOf" srcId="{9037C6F8-DB1C-4444-BE9C-7457514D6B01}" destId="{0EE23D0A-2E24-4B35-A53B-7F9C748A1A22}" srcOrd="0" destOrd="0" presId="urn:microsoft.com/office/officeart/2008/layout/VerticalCurvedList"/>
    <dgm:cxn modelId="{94A9CDEE-31A0-4489-B165-90DA28291B44}" type="presOf" srcId="{0FD5F1F5-FE7C-478C-8DCD-A8CD26613F7F}" destId="{B323E1E0-D813-4FC8-9458-4E73CB1D21C3}" srcOrd="0" destOrd="0" presId="urn:microsoft.com/office/officeart/2008/layout/VerticalCurvedList"/>
    <dgm:cxn modelId="{3F1E9EC9-0638-481F-9A8C-26877DAC0F55}" type="presOf" srcId="{3F15AD7E-D54C-4EFF-84AF-2FAFF5DF7837}" destId="{0F4C3903-9C92-46E7-823F-9AC1EA489AD7}" srcOrd="0" destOrd="0" presId="urn:microsoft.com/office/officeart/2008/layout/VerticalCurvedList"/>
    <dgm:cxn modelId="{3AB1EB9D-E9B9-4AAD-9CD2-F6A5EE7BF1E4}" type="presOf" srcId="{FB6FC3E0-062A-4F25-921F-44E2CE779E58}" destId="{5A015D74-D565-41FE-8BBD-82A16352EB4B}" srcOrd="0" destOrd="0" presId="urn:microsoft.com/office/officeart/2008/layout/VerticalCurvedList"/>
    <dgm:cxn modelId="{233361CD-98BD-46EC-ACA3-D01E4B3C6BDF}" srcId="{3F15AD7E-D54C-4EFF-84AF-2FAFF5DF7837}" destId="{FB6FC3E0-062A-4F25-921F-44E2CE779E58}" srcOrd="1" destOrd="0" parTransId="{5A0959DD-AE0E-4A2E-AF92-041014F74B4F}" sibTransId="{B8C869F6-BC96-40FC-BC62-F97998DF6CD1}"/>
    <dgm:cxn modelId="{053AEE3B-96EB-4C5F-B3AA-FC2E16CC74AA}" srcId="{3F15AD7E-D54C-4EFF-84AF-2FAFF5DF7837}" destId="{1B8431CB-3669-455C-8D5F-6223AD57C667}" srcOrd="0" destOrd="0" parTransId="{20EA9AE7-854C-4BB4-A33E-C64B4FF21C67}" sibTransId="{9037C6F8-DB1C-4444-BE9C-7457514D6B01}"/>
    <dgm:cxn modelId="{94FF994F-AE76-4519-867D-9AAFC090424F}" srcId="{3F15AD7E-D54C-4EFF-84AF-2FAFF5DF7837}" destId="{0FD5F1F5-FE7C-478C-8DCD-A8CD26613F7F}" srcOrd="2" destOrd="0" parTransId="{06B4C6DE-4977-4A2A-B166-F0AC1A38EAEC}" sibTransId="{E99483C8-A7F3-424A-A019-C2A15F58B7B6}"/>
    <dgm:cxn modelId="{83AFA140-4EFC-4C13-B9BE-DE4232036AE8}" type="presOf" srcId="{1B8431CB-3669-455C-8D5F-6223AD57C667}" destId="{0A3EC0BB-4457-4451-BFE3-1C12341643B6}" srcOrd="0" destOrd="0" presId="urn:microsoft.com/office/officeart/2008/layout/VerticalCurvedList"/>
    <dgm:cxn modelId="{EA6656F9-3BE5-488C-BFAC-457677C7B026}" type="presParOf" srcId="{0F4C3903-9C92-46E7-823F-9AC1EA489AD7}" destId="{E5325B1B-2D7E-42F0-9136-6E4E599ABA37}" srcOrd="0" destOrd="0" presId="urn:microsoft.com/office/officeart/2008/layout/VerticalCurvedList"/>
    <dgm:cxn modelId="{44DD9749-597C-499F-A9A2-272F81C9B05E}" type="presParOf" srcId="{E5325B1B-2D7E-42F0-9136-6E4E599ABA37}" destId="{AFA1996C-F428-4C44-A69D-C7AF51F6BF32}" srcOrd="0" destOrd="0" presId="urn:microsoft.com/office/officeart/2008/layout/VerticalCurvedList"/>
    <dgm:cxn modelId="{995568F4-E49F-49A7-B436-9B8C7CF6F6CA}" type="presParOf" srcId="{AFA1996C-F428-4C44-A69D-C7AF51F6BF32}" destId="{7FD07218-5A60-47F6-8A91-FA3917B71A29}" srcOrd="0" destOrd="0" presId="urn:microsoft.com/office/officeart/2008/layout/VerticalCurvedList"/>
    <dgm:cxn modelId="{98ACD248-74EA-4547-BA19-3B54B10B17BD}" type="presParOf" srcId="{AFA1996C-F428-4C44-A69D-C7AF51F6BF32}" destId="{0EE23D0A-2E24-4B35-A53B-7F9C748A1A22}" srcOrd="1" destOrd="0" presId="urn:microsoft.com/office/officeart/2008/layout/VerticalCurvedList"/>
    <dgm:cxn modelId="{5B5D35C1-11A1-442A-9452-601032A01F0F}" type="presParOf" srcId="{AFA1996C-F428-4C44-A69D-C7AF51F6BF32}" destId="{F534ED5A-9D2C-4ED6-B81C-31FF9BD452BD}" srcOrd="2" destOrd="0" presId="urn:microsoft.com/office/officeart/2008/layout/VerticalCurvedList"/>
    <dgm:cxn modelId="{8E8BF29E-BE8B-45D2-9DCE-2433A0B6F0E7}" type="presParOf" srcId="{AFA1996C-F428-4C44-A69D-C7AF51F6BF32}" destId="{049871FF-0DF5-45B3-996A-73177877E56F}" srcOrd="3" destOrd="0" presId="urn:microsoft.com/office/officeart/2008/layout/VerticalCurvedList"/>
    <dgm:cxn modelId="{451D6E6A-E7EE-4AC8-9AC8-A70FDA2F6743}" type="presParOf" srcId="{E5325B1B-2D7E-42F0-9136-6E4E599ABA37}" destId="{0A3EC0BB-4457-4451-BFE3-1C12341643B6}" srcOrd="1" destOrd="0" presId="urn:microsoft.com/office/officeart/2008/layout/VerticalCurvedList"/>
    <dgm:cxn modelId="{8BA3607D-72CC-4C96-B060-A9BB2E4A654C}" type="presParOf" srcId="{E5325B1B-2D7E-42F0-9136-6E4E599ABA37}" destId="{FBC501DD-50CB-498F-A530-57EDD4620536}" srcOrd="2" destOrd="0" presId="urn:microsoft.com/office/officeart/2008/layout/VerticalCurvedList"/>
    <dgm:cxn modelId="{4B33DEEE-2A59-4205-B725-B8D6061ED465}" type="presParOf" srcId="{FBC501DD-50CB-498F-A530-57EDD4620536}" destId="{8ADFCCBB-5D98-4E5D-8886-F9D2D1A65D6B}" srcOrd="0" destOrd="0" presId="urn:microsoft.com/office/officeart/2008/layout/VerticalCurvedList"/>
    <dgm:cxn modelId="{D57C5BD9-D672-493C-8D50-AB4445690CAC}" type="presParOf" srcId="{E5325B1B-2D7E-42F0-9136-6E4E599ABA37}" destId="{5A015D74-D565-41FE-8BBD-82A16352EB4B}" srcOrd="3" destOrd="0" presId="urn:microsoft.com/office/officeart/2008/layout/VerticalCurvedList"/>
    <dgm:cxn modelId="{3CE508ED-1672-43C4-880F-7B718FD884E9}" type="presParOf" srcId="{E5325B1B-2D7E-42F0-9136-6E4E599ABA37}" destId="{5F087A85-98B7-4253-85D5-8205B289136C}" srcOrd="4" destOrd="0" presId="urn:microsoft.com/office/officeart/2008/layout/VerticalCurvedList"/>
    <dgm:cxn modelId="{C1410B3A-2BE7-480B-AD52-EDF25AB113C5}" type="presParOf" srcId="{5F087A85-98B7-4253-85D5-8205B289136C}" destId="{9AF4BFBE-590B-426C-994E-CAD073675D23}" srcOrd="0" destOrd="0" presId="urn:microsoft.com/office/officeart/2008/layout/VerticalCurvedList"/>
    <dgm:cxn modelId="{5590DDD3-9534-43B0-9D60-EA1365EE49B3}" type="presParOf" srcId="{E5325B1B-2D7E-42F0-9136-6E4E599ABA37}" destId="{B323E1E0-D813-4FC8-9458-4E73CB1D21C3}" srcOrd="5" destOrd="0" presId="urn:microsoft.com/office/officeart/2008/layout/VerticalCurvedList"/>
    <dgm:cxn modelId="{1D2A4D89-1F6A-4468-AF23-B943412997CA}" type="presParOf" srcId="{E5325B1B-2D7E-42F0-9136-6E4E599ABA37}" destId="{A8072926-8DAE-4920-8676-C68045989A21}" srcOrd="6" destOrd="0" presId="urn:microsoft.com/office/officeart/2008/layout/VerticalCurvedList"/>
    <dgm:cxn modelId="{CAC699BE-219F-4BA8-80BF-651F2C0C2774}" type="presParOf" srcId="{A8072926-8DAE-4920-8676-C68045989A21}" destId="{606D2775-1E7B-4167-9159-72F069E1D202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084CEC97-E84C-4B4D-9423-57DF6F88DCEF}" type="doc">
      <dgm:prSet loTypeId="urn:microsoft.com/office/officeart/2005/8/layout/pyramid3" loCatId="pyramid" qsTypeId="urn:microsoft.com/office/officeart/2005/8/quickstyle/simple1" qsCatId="simple" csTypeId="urn:microsoft.com/office/officeart/2005/8/colors/colorful5" csCatId="colorful" phldr="1"/>
      <dgm:spPr/>
    </dgm:pt>
    <dgm:pt modelId="{A6565B7B-C44C-407B-A441-2247BADC6AE5}">
      <dgm:prSet phldrT="[Texte]"/>
      <dgm:spPr/>
      <dgm:t>
        <a:bodyPr/>
        <a:lstStyle/>
        <a:p>
          <a:r>
            <a:rPr lang="fr-FR" dirty="0" smtClean="0"/>
            <a:t>Collecter</a:t>
          </a:r>
          <a:endParaRPr lang="fr-FR" dirty="0"/>
        </a:p>
      </dgm:t>
    </dgm:pt>
    <dgm:pt modelId="{480322C6-E7D0-432E-9853-D086FDDB855A}" type="parTrans" cxnId="{774A7460-2095-4846-AC0C-39019262590B}">
      <dgm:prSet/>
      <dgm:spPr/>
      <dgm:t>
        <a:bodyPr/>
        <a:lstStyle/>
        <a:p>
          <a:endParaRPr lang="fr-FR"/>
        </a:p>
      </dgm:t>
    </dgm:pt>
    <dgm:pt modelId="{138B7702-6E70-4384-9A50-4C23E470A476}" type="sibTrans" cxnId="{774A7460-2095-4846-AC0C-39019262590B}">
      <dgm:prSet/>
      <dgm:spPr/>
      <dgm:t>
        <a:bodyPr/>
        <a:lstStyle/>
        <a:p>
          <a:endParaRPr lang="fr-FR"/>
        </a:p>
      </dgm:t>
    </dgm:pt>
    <dgm:pt modelId="{675895EC-6267-4B4F-8B56-31565BC9C636}">
      <dgm:prSet phldrT="[Texte]"/>
      <dgm:spPr/>
      <dgm:t>
        <a:bodyPr/>
        <a:lstStyle/>
        <a:p>
          <a:r>
            <a:rPr lang="fr-FR" dirty="0" smtClean="0"/>
            <a:t>Diffuser</a:t>
          </a:r>
          <a:endParaRPr lang="fr-FR" dirty="0"/>
        </a:p>
      </dgm:t>
    </dgm:pt>
    <dgm:pt modelId="{5698B9B8-E8A1-4255-8A94-EA8ADEA64ACF}" type="parTrans" cxnId="{E84F920A-72EF-4903-A191-CAFA51103B98}">
      <dgm:prSet/>
      <dgm:spPr/>
      <dgm:t>
        <a:bodyPr/>
        <a:lstStyle/>
        <a:p>
          <a:endParaRPr lang="fr-FR"/>
        </a:p>
      </dgm:t>
    </dgm:pt>
    <dgm:pt modelId="{4C5E7D68-9EF3-4D97-B774-A0080D19F4B1}" type="sibTrans" cxnId="{E84F920A-72EF-4903-A191-CAFA51103B98}">
      <dgm:prSet/>
      <dgm:spPr/>
      <dgm:t>
        <a:bodyPr/>
        <a:lstStyle/>
        <a:p>
          <a:endParaRPr lang="fr-FR"/>
        </a:p>
      </dgm:t>
    </dgm:pt>
    <dgm:pt modelId="{0B3EB77D-62AF-40A8-8D12-0DAEE5337867}">
      <dgm:prSet phldrT="[Texte]"/>
      <dgm:spPr/>
      <dgm:t>
        <a:bodyPr/>
        <a:lstStyle/>
        <a:p>
          <a:r>
            <a:rPr lang="fr-FR" dirty="0" smtClean="0"/>
            <a:t>Utiliser</a:t>
          </a:r>
          <a:endParaRPr lang="fr-FR" dirty="0"/>
        </a:p>
      </dgm:t>
    </dgm:pt>
    <dgm:pt modelId="{1C706426-A53D-495B-AACE-57F48E07A31B}" type="parTrans" cxnId="{A8AB9B54-0D58-4696-B9A3-A548DEFAD36B}">
      <dgm:prSet/>
      <dgm:spPr/>
      <dgm:t>
        <a:bodyPr/>
        <a:lstStyle/>
        <a:p>
          <a:endParaRPr lang="fr-FR"/>
        </a:p>
      </dgm:t>
    </dgm:pt>
    <dgm:pt modelId="{A9ABFE94-5419-43BC-B361-6203944E080A}" type="sibTrans" cxnId="{A8AB9B54-0D58-4696-B9A3-A548DEFAD36B}">
      <dgm:prSet/>
      <dgm:spPr/>
      <dgm:t>
        <a:bodyPr/>
        <a:lstStyle/>
        <a:p>
          <a:endParaRPr lang="fr-FR"/>
        </a:p>
      </dgm:t>
    </dgm:pt>
    <dgm:pt modelId="{5D9C3DDB-127A-4FF8-B103-849D7398F2BD}" type="pres">
      <dgm:prSet presAssocID="{084CEC97-E84C-4B4D-9423-57DF6F88DCEF}" presName="Name0" presStyleCnt="0">
        <dgm:presLayoutVars>
          <dgm:dir/>
          <dgm:animLvl val="lvl"/>
          <dgm:resizeHandles val="exact"/>
        </dgm:presLayoutVars>
      </dgm:prSet>
      <dgm:spPr/>
    </dgm:pt>
    <dgm:pt modelId="{ED5BEDF0-F131-4F6A-9072-E8DC51769B53}" type="pres">
      <dgm:prSet presAssocID="{A6565B7B-C44C-407B-A441-2247BADC6AE5}" presName="Name8" presStyleCnt="0"/>
      <dgm:spPr/>
    </dgm:pt>
    <dgm:pt modelId="{8B1BCE03-3337-4039-A702-3C1753EF8FA1}" type="pres">
      <dgm:prSet presAssocID="{A6565B7B-C44C-407B-A441-2247BADC6AE5}" presName="level" presStyleLbl="node1" presStyleIdx="0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0B54872C-17E1-4613-A66B-3677F41E2DC5}" type="pres">
      <dgm:prSet presAssocID="{A6565B7B-C44C-407B-A441-2247BADC6AE5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B578541-E3BC-4926-8B57-F0C4916C3F15}" type="pres">
      <dgm:prSet presAssocID="{675895EC-6267-4B4F-8B56-31565BC9C636}" presName="Name8" presStyleCnt="0"/>
      <dgm:spPr/>
    </dgm:pt>
    <dgm:pt modelId="{ABF0C50B-703E-4307-A176-A2936B0E09A7}" type="pres">
      <dgm:prSet presAssocID="{675895EC-6267-4B4F-8B56-31565BC9C636}" presName="level" presStyleLbl="node1" presStyleIdx="1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67006E99-EFD6-45E2-8EDC-B86327776EF2}" type="pres">
      <dgm:prSet presAssocID="{675895EC-6267-4B4F-8B56-31565BC9C636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1C9ED097-44E5-4687-A526-73C262C4936D}" type="pres">
      <dgm:prSet presAssocID="{0B3EB77D-62AF-40A8-8D12-0DAEE5337867}" presName="Name8" presStyleCnt="0"/>
      <dgm:spPr/>
    </dgm:pt>
    <dgm:pt modelId="{F0146F94-EF3E-42C9-8AF0-8F5F90C88F96}" type="pres">
      <dgm:prSet presAssocID="{0B3EB77D-62AF-40A8-8D12-0DAEE5337867}" presName="level" presStyleLbl="node1" presStyleIdx="2" presStyleCnt="3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C0D97BC1-3CF0-46FC-815C-4066ED2C0B3B}" type="pres">
      <dgm:prSet presAssocID="{0B3EB77D-62AF-40A8-8D12-0DAEE5337867}" presName="levelTx" presStyleLbl="revTx" presStyleIdx="0" presStyleCnt="0">
        <dgm:presLayoutVars>
          <dgm:chMax val="1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8B7CC214-7063-4016-8344-D12AEAB52493}" type="presOf" srcId="{675895EC-6267-4B4F-8B56-31565BC9C636}" destId="{67006E99-EFD6-45E2-8EDC-B86327776EF2}" srcOrd="1" destOrd="0" presId="urn:microsoft.com/office/officeart/2005/8/layout/pyramid3"/>
    <dgm:cxn modelId="{278D5C48-CAFE-4D67-A27B-8497B365B9DF}" type="presOf" srcId="{675895EC-6267-4B4F-8B56-31565BC9C636}" destId="{ABF0C50B-703E-4307-A176-A2936B0E09A7}" srcOrd="0" destOrd="0" presId="urn:microsoft.com/office/officeart/2005/8/layout/pyramid3"/>
    <dgm:cxn modelId="{DAE2CB37-B0C2-483A-84C1-2AFA49471DCA}" type="presOf" srcId="{A6565B7B-C44C-407B-A441-2247BADC6AE5}" destId="{8B1BCE03-3337-4039-A702-3C1753EF8FA1}" srcOrd="0" destOrd="0" presId="urn:microsoft.com/office/officeart/2005/8/layout/pyramid3"/>
    <dgm:cxn modelId="{F9947BC6-26DB-45FE-A0A0-B91220705C13}" type="presOf" srcId="{0B3EB77D-62AF-40A8-8D12-0DAEE5337867}" destId="{C0D97BC1-3CF0-46FC-815C-4066ED2C0B3B}" srcOrd="1" destOrd="0" presId="urn:microsoft.com/office/officeart/2005/8/layout/pyramid3"/>
    <dgm:cxn modelId="{A8AB9B54-0D58-4696-B9A3-A548DEFAD36B}" srcId="{084CEC97-E84C-4B4D-9423-57DF6F88DCEF}" destId="{0B3EB77D-62AF-40A8-8D12-0DAEE5337867}" srcOrd="2" destOrd="0" parTransId="{1C706426-A53D-495B-AACE-57F48E07A31B}" sibTransId="{A9ABFE94-5419-43BC-B361-6203944E080A}"/>
    <dgm:cxn modelId="{E4074798-F1D2-4599-8D8F-B84BCB7388D5}" type="presOf" srcId="{084CEC97-E84C-4B4D-9423-57DF6F88DCEF}" destId="{5D9C3DDB-127A-4FF8-B103-849D7398F2BD}" srcOrd="0" destOrd="0" presId="urn:microsoft.com/office/officeart/2005/8/layout/pyramid3"/>
    <dgm:cxn modelId="{774A7460-2095-4846-AC0C-39019262590B}" srcId="{084CEC97-E84C-4B4D-9423-57DF6F88DCEF}" destId="{A6565B7B-C44C-407B-A441-2247BADC6AE5}" srcOrd="0" destOrd="0" parTransId="{480322C6-E7D0-432E-9853-D086FDDB855A}" sibTransId="{138B7702-6E70-4384-9A50-4C23E470A476}"/>
    <dgm:cxn modelId="{E84F920A-72EF-4903-A191-CAFA51103B98}" srcId="{084CEC97-E84C-4B4D-9423-57DF6F88DCEF}" destId="{675895EC-6267-4B4F-8B56-31565BC9C636}" srcOrd="1" destOrd="0" parTransId="{5698B9B8-E8A1-4255-8A94-EA8ADEA64ACF}" sibTransId="{4C5E7D68-9EF3-4D97-B774-A0080D19F4B1}"/>
    <dgm:cxn modelId="{F7FB4AA2-498B-4BD0-AA6A-FB2921BAE3A9}" type="presOf" srcId="{0B3EB77D-62AF-40A8-8D12-0DAEE5337867}" destId="{F0146F94-EF3E-42C9-8AF0-8F5F90C88F96}" srcOrd="0" destOrd="0" presId="urn:microsoft.com/office/officeart/2005/8/layout/pyramid3"/>
    <dgm:cxn modelId="{5FDB0D75-FED5-4BDA-B8D5-E594DD88DD38}" type="presOf" srcId="{A6565B7B-C44C-407B-A441-2247BADC6AE5}" destId="{0B54872C-17E1-4613-A66B-3677F41E2DC5}" srcOrd="1" destOrd="0" presId="urn:microsoft.com/office/officeart/2005/8/layout/pyramid3"/>
    <dgm:cxn modelId="{56336F20-A0D2-4F32-B9F4-26ADFCEDD50A}" type="presParOf" srcId="{5D9C3DDB-127A-4FF8-B103-849D7398F2BD}" destId="{ED5BEDF0-F131-4F6A-9072-E8DC51769B53}" srcOrd="0" destOrd="0" presId="urn:microsoft.com/office/officeart/2005/8/layout/pyramid3"/>
    <dgm:cxn modelId="{4B388259-CD4E-42FE-938D-E2E5A5676EC6}" type="presParOf" srcId="{ED5BEDF0-F131-4F6A-9072-E8DC51769B53}" destId="{8B1BCE03-3337-4039-A702-3C1753EF8FA1}" srcOrd="0" destOrd="0" presId="urn:microsoft.com/office/officeart/2005/8/layout/pyramid3"/>
    <dgm:cxn modelId="{FAE0D77C-CA6A-41F4-BA1D-314F00079A4D}" type="presParOf" srcId="{ED5BEDF0-F131-4F6A-9072-E8DC51769B53}" destId="{0B54872C-17E1-4613-A66B-3677F41E2DC5}" srcOrd="1" destOrd="0" presId="urn:microsoft.com/office/officeart/2005/8/layout/pyramid3"/>
    <dgm:cxn modelId="{686F61D1-A037-48BF-9EA4-0741DAF1460D}" type="presParOf" srcId="{5D9C3DDB-127A-4FF8-B103-849D7398F2BD}" destId="{3B578541-E3BC-4926-8B57-F0C4916C3F15}" srcOrd="1" destOrd="0" presId="urn:microsoft.com/office/officeart/2005/8/layout/pyramid3"/>
    <dgm:cxn modelId="{76FE9AB1-51E9-4338-A8AA-EA2FBB4AA466}" type="presParOf" srcId="{3B578541-E3BC-4926-8B57-F0C4916C3F15}" destId="{ABF0C50B-703E-4307-A176-A2936B0E09A7}" srcOrd="0" destOrd="0" presId="urn:microsoft.com/office/officeart/2005/8/layout/pyramid3"/>
    <dgm:cxn modelId="{2FE5C003-FB8D-4387-968B-D233A9922649}" type="presParOf" srcId="{3B578541-E3BC-4926-8B57-F0C4916C3F15}" destId="{67006E99-EFD6-45E2-8EDC-B86327776EF2}" srcOrd="1" destOrd="0" presId="urn:microsoft.com/office/officeart/2005/8/layout/pyramid3"/>
    <dgm:cxn modelId="{B8FDEFAD-E18D-475F-AC9D-8A6228A8CB0E}" type="presParOf" srcId="{5D9C3DDB-127A-4FF8-B103-849D7398F2BD}" destId="{1C9ED097-44E5-4687-A526-73C262C4936D}" srcOrd="2" destOrd="0" presId="urn:microsoft.com/office/officeart/2005/8/layout/pyramid3"/>
    <dgm:cxn modelId="{7766FA74-D356-4F5B-9809-6DA45B04B121}" type="presParOf" srcId="{1C9ED097-44E5-4687-A526-73C262C4936D}" destId="{F0146F94-EF3E-42C9-8AF0-8F5F90C88F96}" srcOrd="0" destOrd="0" presId="urn:microsoft.com/office/officeart/2005/8/layout/pyramid3"/>
    <dgm:cxn modelId="{C842A82A-F536-41B4-8E5E-36D19C1E65BC}" type="presParOf" srcId="{1C9ED097-44E5-4687-A526-73C262C4936D}" destId="{C0D97BC1-3CF0-46FC-815C-4066ED2C0B3B}" srcOrd="1" destOrd="0" presId="urn:microsoft.com/office/officeart/2005/8/layout/pyramid3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6F93A42A-A194-4BEA-8EB9-2A3D4E876769}" type="doc">
      <dgm:prSet loTypeId="urn:microsoft.com/office/officeart/2005/8/layout/vList2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AD9D7F5B-3997-443E-90EF-AEA082B3BCA4}">
      <dgm:prSet/>
      <dgm:spPr/>
      <dgm:t>
        <a:bodyPr/>
        <a:lstStyle/>
        <a:p>
          <a:pPr rtl="0"/>
          <a:r>
            <a:rPr lang="fr-FR" dirty="0" smtClean="0">
              <a:latin typeface="Helvetica 75 Bold" panose="020B0804020202020204" pitchFamily="34" charset="0"/>
            </a:rPr>
            <a:t>Adapter la communication en temps réel</a:t>
          </a:r>
          <a:endParaRPr lang="fr-FR" dirty="0">
            <a:latin typeface="Helvetica 75 Bold" panose="020B0804020202020204" pitchFamily="34" charset="0"/>
          </a:endParaRPr>
        </a:p>
      </dgm:t>
    </dgm:pt>
    <dgm:pt modelId="{269F9E80-C25B-4358-AE4E-E4D3030FA0DB}" type="parTrans" cxnId="{3C15FC07-CEB8-4AD9-A683-C784B267E109}">
      <dgm:prSet/>
      <dgm:spPr/>
      <dgm:t>
        <a:bodyPr/>
        <a:lstStyle/>
        <a:p>
          <a:endParaRPr lang="fr-FR"/>
        </a:p>
      </dgm:t>
    </dgm:pt>
    <dgm:pt modelId="{918A0EB4-695C-490D-899F-F2A4E21152CF}" type="sibTrans" cxnId="{3C15FC07-CEB8-4AD9-A683-C784B267E109}">
      <dgm:prSet/>
      <dgm:spPr/>
      <dgm:t>
        <a:bodyPr/>
        <a:lstStyle/>
        <a:p>
          <a:endParaRPr lang="fr-FR"/>
        </a:p>
      </dgm:t>
    </dgm:pt>
    <dgm:pt modelId="{7854F9A0-F147-40E8-A5B3-2603E63ED454}">
      <dgm:prSet/>
      <dgm:spPr/>
      <dgm:t>
        <a:bodyPr/>
        <a:lstStyle/>
        <a:p>
          <a:pPr rtl="0"/>
          <a:r>
            <a:rPr lang="fr-FR" dirty="0" smtClean="0">
              <a:latin typeface="Helvetica 75 Bold" panose="020B0804020202020204" pitchFamily="34" charset="0"/>
              <a:ea typeface="Arial" charset="0"/>
              <a:cs typeface="Arial" charset="0"/>
            </a:rPr>
            <a:t>Rendre accessible la Voix du Client à tous les collaborateurs</a:t>
          </a:r>
          <a:endParaRPr lang="fr-FR" dirty="0">
            <a:latin typeface="Helvetica 75 Bold" panose="020B0804020202020204" pitchFamily="34" charset="0"/>
          </a:endParaRPr>
        </a:p>
      </dgm:t>
    </dgm:pt>
    <dgm:pt modelId="{2B34B74A-3F65-403A-B08A-BCAF2A74552A}" type="parTrans" cxnId="{4724859E-D3EC-4216-9BC4-E8C9D9695A05}">
      <dgm:prSet/>
      <dgm:spPr/>
      <dgm:t>
        <a:bodyPr/>
        <a:lstStyle/>
        <a:p>
          <a:endParaRPr lang="fr-FR"/>
        </a:p>
      </dgm:t>
    </dgm:pt>
    <dgm:pt modelId="{8809949E-D31B-473C-A376-325E853A74A2}" type="sibTrans" cxnId="{4724859E-D3EC-4216-9BC4-E8C9D9695A05}">
      <dgm:prSet/>
      <dgm:spPr/>
      <dgm:t>
        <a:bodyPr/>
        <a:lstStyle/>
        <a:p>
          <a:endParaRPr lang="fr-FR"/>
        </a:p>
      </dgm:t>
    </dgm:pt>
    <dgm:pt modelId="{BDEBB8D8-8100-4149-A62B-C566D986CA8D}">
      <dgm:prSet/>
      <dgm:spPr/>
      <dgm:t>
        <a:bodyPr/>
        <a:lstStyle/>
        <a:p>
          <a:pPr rtl="0"/>
          <a:r>
            <a:rPr lang="fr-FR" dirty="0" smtClean="0">
              <a:latin typeface="Helvetica 75 Bold" panose="020B0804020202020204" pitchFamily="34" charset="0"/>
              <a:ea typeface="Arial" charset="0"/>
              <a:cs typeface="Arial" charset="0"/>
            </a:rPr>
            <a:t>Être alerté en cas de crise ou d’opportunité</a:t>
          </a:r>
          <a:endParaRPr lang="fr-FR" dirty="0">
            <a:latin typeface="Helvetica 75 Bold" panose="020B0804020202020204" pitchFamily="34" charset="0"/>
          </a:endParaRPr>
        </a:p>
      </dgm:t>
    </dgm:pt>
    <dgm:pt modelId="{409A4C5B-B5C3-45F7-A74F-26EE900FED79}" type="parTrans" cxnId="{96A0DAB0-3CF0-411F-BBAC-2F868324265A}">
      <dgm:prSet/>
      <dgm:spPr/>
      <dgm:t>
        <a:bodyPr/>
        <a:lstStyle/>
        <a:p>
          <a:endParaRPr lang="fr-FR"/>
        </a:p>
      </dgm:t>
    </dgm:pt>
    <dgm:pt modelId="{B4C98541-BA7E-4E96-87CD-B2E2FED7FC7A}" type="sibTrans" cxnId="{96A0DAB0-3CF0-411F-BBAC-2F868324265A}">
      <dgm:prSet/>
      <dgm:spPr/>
      <dgm:t>
        <a:bodyPr/>
        <a:lstStyle/>
        <a:p>
          <a:endParaRPr lang="fr-FR"/>
        </a:p>
      </dgm:t>
    </dgm:pt>
    <dgm:pt modelId="{BE93D33B-BF9C-4765-A2B0-67A2939F6B9D}" type="pres">
      <dgm:prSet presAssocID="{6F93A42A-A194-4BEA-8EB9-2A3D4E876769}" presName="linear" presStyleCnt="0">
        <dgm:presLayoutVars>
          <dgm:animLvl val="lvl"/>
          <dgm:resizeHandles val="exact"/>
        </dgm:presLayoutVars>
      </dgm:prSet>
      <dgm:spPr/>
      <dgm:t>
        <a:bodyPr/>
        <a:lstStyle/>
        <a:p>
          <a:endParaRPr lang="fr-FR"/>
        </a:p>
      </dgm:t>
    </dgm:pt>
    <dgm:pt modelId="{9434969B-8AD4-46D9-A964-DEB2F8AAB78A}" type="pres">
      <dgm:prSet presAssocID="{7854F9A0-F147-40E8-A5B3-2603E63ED454}" presName="parentText" presStyleLbl="node1" presStyleIdx="0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F4CD2935-C7F5-48BC-8C69-16C9008B0DF8}" type="pres">
      <dgm:prSet presAssocID="{8809949E-D31B-473C-A376-325E853A74A2}" presName="spacer" presStyleCnt="0"/>
      <dgm:spPr/>
      <dgm:t>
        <a:bodyPr/>
        <a:lstStyle/>
        <a:p>
          <a:endParaRPr lang="fr-FR"/>
        </a:p>
      </dgm:t>
    </dgm:pt>
    <dgm:pt modelId="{D14F5A64-CD9C-493E-8AA3-458778833754}" type="pres">
      <dgm:prSet presAssocID="{AD9D7F5B-3997-443E-90EF-AEA082B3BCA4}" presName="parentText" presStyleLbl="node1" presStyleIdx="1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33372058-2C93-411D-9637-03265EA1F443}" type="pres">
      <dgm:prSet presAssocID="{918A0EB4-695C-490D-899F-F2A4E21152CF}" presName="spacer" presStyleCnt="0"/>
      <dgm:spPr/>
      <dgm:t>
        <a:bodyPr/>
        <a:lstStyle/>
        <a:p>
          <a:endParaRPr lang="fr-FR"/>
        </a:p>
      </dgm:t>
    </dgm:pt>
    <dgm:pt modelId="{486FF1F6-4C90-45C6-8192-966BCB0BFB9E}" type="pres">
      <dgm:prSet presAssocID="{BDEBB8D8-8100-4149-A62B-C566D986CA8D}" presName="parentText" presStyleLbl="node1" presStyleIdx="2" presStyleCnt="3">
        <dgm:presLayoutVars>
          <dgm:chMax val="0"/>
          <dgm:bulletEnabled val="1"/>
        </dgm:presLayoutVars>
      </dgm:prSet>
      <dgm:spPr/>
      <dgm:t>
        <a:bodyPr/>
        <a:lstStyle/>
        <a:p>
          <a:endParaRPr lang="fr-FR"/>
        </a:p>
      </dgm:t>
    </dgm:pt>
  </dgm:ptLst>
  <dgm:cxnLst>
    <dgm:cxn modelId="{94004DD3-8365-42BE-9F1A-F730464A23FA}" type="presOf" srcId="{BDEBB8D8-8100-4149-A62B-C566D986CA8D}" destId="{486FF1F6-4C90-45C6-8192-966BCB0BFB9E}" srcOrd="0" destOrd="0" presId="urn:microsoft.com/office/officeart/2005/8/layout/vList2"/>
    <dgm:cxn modelId="{3C15FC07-CEB8-4AD9-A683-C784B267E109}" srcId="{6F93A42A-A194-4BEA-8EB9-2A3D4E876769}" destId="{AD9D7F5B-3997-443E-90EF-AEA082B3BCA4}" srcOrd="1" destOrd="0" parTransId="{269F9E80-C25B-4358-AE4E-E4D3030FA0DB}" sibTransId="{918A0EB4-695C-490D-899F-F2A4E21152CF}"/>
    <dgm:cxn modelId="{DA70DDC2-85B4-4DBB-B34E-AE7468E0DFDA}" type="presOf" srcId="{6F93A42A-A194-4BEA-8EB9-2A3D4E876769}" destId="{BE93D33B-BF9C-4765-A2B0-67A2939F6B9D}" srcOrd="0" destOrd="0" presId="urn:microsoft.com/office/officeart/2005/8/layout/vList2"/>
    <dgm:cxn modelId="{4724859E-D3EC-4216-9BC4-E8C9D9695A05}" srcId="{6F93A42A-A194-4BEA-8EB9-2A3D4E876769}" destId="{7854F9A0-F147-40E8-A5B3-2603E63ED454}" srcOrd="0" destOrd="0" parTransId="{2B34B74A-3F65-403A-B08A-BCAF2A74552A}" sibTransId="{8809949E-D31B-473C-A376-325E853A74A2}"/>
    <dgm:cxn modelId="{CCACF208-B93F-4890-974D-6468BC24997F}" type="presOf" srcId="{7854F9A0-F147-40E8-A5B3-2603E63ED454}" destId="{9434969B-8AD4-46D9-A964-DEB2F8AAB78A}" srcOrd="0" destOrd="0" presId="urn:microsoft.com/office/officeart/2005/8/layout/vList2"/>
    <dgm:cxn modelId="{664C6E38-B168-46B1-8CBE-0EE5C9653CE2}" type="presOf" srcId="{AD9D7F5B-3997-443E-90EF-AEA082B3BCA4}" destId="{D14F5A64-CD9C-493E-8AA3-458778833754}" srcOrd="0" destOrd="0" presId="urn:microsoft.com/office/officeart/2005/8/layout/vList2"/>
    <dgm:cxn modelId="{96A0DAB0-3CF0-411F-BBAC-2F868324265A}" srcId="{6F93A42A-A194-4BEA-8EB9-2A3D4E876769}" destId="{BDEBB8D8-8100-4149-A62B-C566D986CA8D}" srcOrd="2" destOrd="0" parTransId="{409A4C5B-B5C3-45F7-A74F-26EE900FED79}" sibTransId="{B4C98541-BA7E-4E96-87CD-B2E2FED7FC7A}"/>
    <dgm:cxn modelId="{7353C0A7-8E08-4E1A-B653-4E822C4DD8FF}" type="presParOf" srcId="{BE93D33B-BF9C-4765-A2B0-67A2939F6B9D}" destId="{9434969B-8AD4-46D9-A964-DEB2F8AAB78A}" srcOrd="0" destOrd="0" presId="urn:microsoft.com/office/officeart/2005/8/layout/vList2"/>
    <dgm:cxn modelId="{C4829BBC-CB7B-40E6-A02D-C842971F8CA0}" type="presParOf" srcId="{BE93D33B-BF9C-4765-A2B0-67A2939F6B9D}" destId="{F4CD2935-C7F5-48BC-8C69-16C9008B0DF8}" srcOrd="1" destOrd="0" presId="urn:microsoft.com/office/officeart/2005/8/layout/vList2"/>
    <dgm:cxn modelId="{49CE847A-E097-4AD4-BF39-09287933DD55}" type="presParOf" srcId="{BE93D33B-BF9C-4765-A2B0-67A2939F6B9D}" destId="{D14F5A64-CD9C-493E-8AA3-458778833754}" srcOrd="2" destOrd="0" presId="urn:microsoft.com/office/officeart/2005/8/layout/vList2"/>
    <dgm:cxn modelId="{B0876B61-B2B4-438A-B562-1CD612F18939}" type="presParOf" srcId="{BE93D33B-BF9C-4765-A2B0-67A2939F6B9D}" destId="{33372058-2C93-411D-9637-03265EA1F443}" srcOrd="3" destOrd="0" presId="urn:microsoft.com/office/officeart/2005/8/layout/vList2"/>
    <dgm:cxn modelId="{D9E64B05-5BA6-492A-9A64-F85C6205DC4A}" type="presParOf" srcId="{BE93D33B-BF9C-4765-A2B0-67A2939F6B9D}" destId="{486FF1F6-4C90-45C6-8192-966BCB0BFB9E}" srcOrd="4" destOrd="0" presId="urn:microsoft.com/office/officeart/2005/8/layout/vList2"/>
  </dgm:cxnLst>
  <dgm:bg/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7.xml><?xml version="1.0" encoding="utf-8"?>
<dgm:dataModel xmlns:dgm="http://schemas.openxmlformats.org/drawingml/2006/diagram" xmlns:a="http://schemas.openxmlformats.org/drawingml/2006/main">
  <dgm:ptLst>
    <dgm:pt modelId="{760F263C-B766-45DF-8EB0-F56B6F8A8F03}" type="doc">
      <dgm:prSet loTypeId="urn:microsoft.com/office/officeart/2008/layout/VerticalCurvedList" loCatId="list" qsTypeId="urn:microsoft.com/office/officeart/2005/8/quickstyle/simple1" qsCatId="simple" csTypeId="urn:microsoft.com/office/officeart/2005/8/colors/colorful5" csCatId="colorful" phldr="1"/>
      <dgm:spPr/>
      <dgm:t>
        <a:bodyPr/>
        <a:lstStyle/>
        <a:p>
          <a:endParaRPr lang="fr-FR"/>
        </a:p>
      </dgm:t>
    </dgm:pt>
    <dgm:pt modelId="{DF493289-4FFF-4371-B4DB-D3DD8DA9D2B8}">
      <dgm:prSet phldrT="[Texte]"/>
      <dgm:spPr/>
      <dgm:t>
        <a:bodyPr/>
        <a:lstStyle/>
        <a:p>
          <a:r>
            <a:rPr lang="fr-FR" dirty="0" smtClean="0"/>
            <a:t>Pour écouter, analyser, comprendre, protéger et influencer</a:t>
          </a:r>
          <a:r>
            <a:rPr lang="fr-FR" baseline="0" dirty="0" smtClean="0"/>
            <a:t> ?</a:t>
          </a:r>
          <a:endParaRPr lang="fr-FR" dirty="0"/>
        </a:p>
      </dgm:t>
    </dgm:pt>
    <dgm:pt modelId="{61FA9251-9423-4C9C-A886-801DE53538D2}" type="parTrans" cxnId="{ACCBEA46-5F38-483E-A3CA-1B563F9456BC}">
      <dgm:prSet/>
      <dgm:spPr/>
      <dgm:t>
        <a:bodyPr/>
        <a:lstStyle/>
        <a:p>
          <a:endParaRPr lang="fr-FR"/>
        </a:p>
      </dgm:t>
    </dgm:pt>
    <dgm:pt modelId="{2AC53462-8B16-466A-8BC3-CEC9AD29E92F}" type="sibTrans" cxnId="{ACCBEA46-5F38-483E-A3CA-1B563F9456BC}">
      <dgm:prSet/>
      <dgm:spPr/>
      <dgm:t>
        <a:bodyPr/>
        <a:lstStyle/>
        <a:p>
          <a:endParaRPr lang="fr-FR"/>
        </a:p>
      </dgm:t>
    </dgm:pt>
    <dgm:pt modelId="{9AFD6E77-9E63-4099-8C5D-F39078BC8F2D}">
      <dgm:prSet/>
      <dgm:spPr/>
      <dgm:t>
        <a:bodyPr/>
        <a:lstStyle/>
        <a:p>
          <a:r>
            <a:rPr lang="fr-FR" baseline="0" dirty="0" smtClean="0"/>
            <a:t>Comment savoir ce qui se passe actuellement dans le monde, et en France ?</a:t>
          </a:r>
          <a:endParaRPr lang="fr-FR" dirty="0"/>
        </a:p>
      </dgm:t>
    </dgm:pt>
    <dgm:pt modelId="{949180B7-13D1-4552-BF8C-31954B7D0574}" type="parTrans" cxnId="{A1539BDF-6BD4-47EE-990E-C4BBE0021B29}">
      <dgm:prSet/>
      <dgm:spPr/>
      <dgm:t>
        <a:bodyPr/>
        <a:lstStyle/>
        <a:p>
          <a:endParaRPr lang="fr-FR"/>
        </a:p>
      </dgm:t>
    </dgm:pt>
    <dgm:pt modelId="{65F5F48C-8C26-4F61-A54B-96B9600F60BC}" type="sibTrans" cxnId="{A1539BDF-6BD4-47EE-990E-C4BBE0021B29}">
      <dgm:prSet/>
      <dgm:spPr/>
      <dgm:t>
        <a:bodyPr/>
        <a:lstStyle/>
        <a:p>
          <a:endParaRPr lang="fr-FR"/>
        </a:p>
      </dgm:t>
    </dgm:pt>
    <dgm:pt modelId="{B57CB6E8-0BBC-49EB-8EEB-3BCB6550562E}">
      <dgm:prSet/>
      <dgm:spPr/>
      <dgm:t>
        <a:bodyPr/>
        <a:lstStyle/>
        <a:p>
          <a:r>
            <a:rPr lang="fr-FR" dirty="0" smtClean="0"/>
            <a:t>Votre outil de Social Listening ?</a:t>
          </a:r>
        </a:p>
      </dgm:t>
    </dgm:pt>
    <dgm:pt modelId="{C643EF98-3173-42BB-B0E5-1658C24C1B69}" type="parTrans" cxnId="{63774E84-550E-4F82-87AF-A182566FA468}">
      <dgm:prSet/>
      <dgm:spPr/>
      <dgm:t>
        <a:bodyPr/>
        <a:lstStyle/>
        <a:p>
          <a:endParaRPr lang="fr-FR"/>
        </a:p>
      </dgm:t>
    </dgm:pt>
    <dgm:pt modelId="{F14D34D2-AC32-4E1D-BFF7-79A4754D6074}" type="sibTrans" cxnId="{63774E84-550E-4F82-87AF-A182566FA468}">
      <dgm:prSet/>
      <dgm:spPr/>
      <dgm:t>
        <a:bodyPr/>
        <a:lstStyle/>
        <a:p>
          <a:endParaRPr lang="fr-FR"/>
        </a:p>
      </dgm:t>
    </dgm:pt>
    <dgm:pt modelId="{34B50376-B457-4296-B04A-11208DD7AA81}">
      <dgm:prSet/>
      <dgm:spPr/>
      <dgm:t>
        <a:bodyPr/>
        <a:lstStyle/>
        <a:p>
          <a:r>
            <a:rPr lang="fr-FR" dirty="0" err="1" smtClean="0"/>
            <a:t>VisiBrain</a:t>
          </a:r>
          <a:r>
            <a:rPr lang="fr-FR" dirty="0" smtClean="0"/>
            <a:t>, </a:t>
          </a:r>
          <a:r>
            <a:rPr lang="fr-FR" dirty="0" err="1" smtClean="0"/>
            <a:t>Digimind</a:t>
          </a:r>
          <a:r>
            <a:rPr lang="fr-FR" dirty="0" smtClean="0"/>
            <a:t> en mode command center</a:t>
          </a:r>
          <a:endParaRPr lang="fr-FR" dirty="0"/>
        </a:p>
      </dgm:t>
    </dgm:pt>
    <dgm:pt modelId="{DF4171C8-B2FA-4DB9-A095-E3F335568C46}" type="parTrans" cxnId="{67ABD20C-A927-4C73-8F0B-860414BDFCD4}">
      <dgm:prSet/>
      <dgm:spPr/>
      <dgm:t>
        <a:bodyPr/>
        <a:lstStyle/>
        <a:p>
          <a:endParaRPr lang="fr-FR"/>
        </a:p>
      </dgm:t>
    </dgm:pt>
    <dgm:pt modelId="{E8F0A599-A77E-48CF-B433-DCA19B77AB58}" type="sibTrans" cxnId="{67ABD20C-A927-4C73-8F0B-860414BDFCD4}">
      <dgm:prSet/>
      <dgm:spPr/>
      <dgm:t>
        <a:bodyPr/>
        <a:lstStyle/>
        <a:p>
          <a:endParaRPr lang="fr-FR"/>
        </a:p>
      </dgm:t>
    </dgm:pt>
    <dgm:pt modelId="{6442A913-37DA-460E-A8C0-CA5E548E42FB}">
      <dgm:prSet/>
      <dgm:spPr/>
      <dgm:t>
        <a:bodyPr/>
        <a:lstStyle/>
        <a:p>
          <a:r>
            <a:rPr lang="fr-FR" dirty="0" smtClean="0"/>
            <a:t>Comment vos métiers sont déjà impactés :  Analyste, etc.</a:t>
          </a:r>
        </a:p>
      </dgm:t>
    </dgm:pt>
    <dgm:pt modelId="{42197E1A-6250-48E9-90CE-53021E1C2046}" type="parTrans" cxnId="{EFA5B3C7-32B7-4C70-AB8D-E57FD1AA2D7C}">
      <dgm:prSet/>
      <dgm:spPr/>
      <dgm:t>
        <a:bodyPr/>
        <a:lstStyle/>
        <a:p>
          <a:endParaRPr lang="fr-FR"/>
        </a:p>
      </dgm:t>
    </dgm:pt>
    <dgm:pt modelId="{8E6173A1-2CC7-4769-AFB8-CDADE96C23E8}" type="sibTrans" cxnId="{EFA5B3C7-32B7-4C70-AB8D-E57FD1AA2D7C}">
      <dgm:prSet/>
      <dgm:spPr/>
      <dgm:t>
        <a:bodyPr/>
        <a:lstStyle/>
        <a:p>
          <a:endParaRPr lang="fr-FR"/>
        </a:p>
      </dgm:t>
    </dgm:pt>
    <dgm:pt modelId="{7F42C2F3-D515-4FCF-841F-ABA550719710}" type="pres">
      <dgm:prSet presAssocID="{760F263C-B766-45DF-8EB0-F56B6F8A8F03}" presName="Name0" presStyleCnt="0">
        <dgm:presLayoutVars>
          <dgm:chMax val="7"/>
          <dgm:chPref val="7"/>
          <dgm:dir/>
        </dgm:presLayoutVars>
      </dgm:prSet>
      <dgm:spPr/>
      <dgm:t>
        <a:bodyPr/>
        <a:lstStyle/>
        <a:p>
          <a:endParaRPr lang="fr-FR"/>
        </a:p>
      </dgm:t>
    </dgm:pt>
    <dgm:pt modelId="{0C4AD8DD-9859-48D5-8E7A-15AD578631B8}" type="pres">
      <dgm:prSet presAssocID="{760F263C-B766-45DF-8EB0-F56B6F8A8F03}" presName="Name1" presStyleCnt="0"/>
      <dgm:spPr/>
    </dgm:pt>
    <dgm:pt modelId="{8A85DC52-1B8F-482E-A7FB-938C5C6A7522}" type="pres">
      <dgm:prSet presAssocID="{760F263C-B766-45DF-8EB0-F56B6F8A8F03}" presName="cycle" presStyleCnt="0"/>
      <dgm:spPr/>
    </dgm:pt>
    <dgm:pt modelId="{23C60F38-8372-42F2-903C-EAD7E5662F59}" type="pres">
      <dgm:prSet presAssocID="{760F263C-B766-45DF-8EB0-F56B6F8A8F03}" presName="srcNode" presStyleLbl="node1" presStyleIdx="0" presStyleCnt="4"/>
      <dgm:spPr/>
    </dgm:pt>
    <dgm:pt modelId="{AC10FFE1-E87C-4E84-8AE0-C4AB11482B4C}" type="pres">
      <dgm:prSet presAssocID="{760F263C-B766-45DF-8EB0-F56B6F8A8F03}" presName="conn" presStyleLbl="parChTrans1D2" presStyleIdx="0" presStyleCnt="1"/>
      <dgm:spPr/>
      <dgm:t>
        <a:bodyPr/>
        <a:lstStyle/>
        <a:p>
          <a:endParaRPr lang="fr-FR"/>
        </a:p>
      </dgm:t>
    </dgm:pt>
    <dgm:pt modelId="{19347E03-FED0-4B71-B4FD-42073013372D}" type="pres">
      <dgm:prSet presAssocID="{760F263C-B766-45DF-8EB0-F56B6F8A8F03}" presName="extraNode" presStyleLbl="node1" presStyleIdx="0" presStyleCnt="4"/>
      <dgm:spPr/>
    </dgm:pt>
    <dgm:pt modelId="{6B438017-740A-403D-A60C-9096D83FBE9B}" type="pres">
      <dgm:prSet presAssocID="{760F263C-B766-45DF-8EB0-F56B6F8A8F03}" presName="dstNode" presStyleLbl="node1" presStyleIdx="0" presStyleCnt="4"/>
      <dgm:spPr/>
    </dgm:pt>
    <dgm:pt modelId="{6B1296CB-AB5D-4A69-89C9-B40A589DE3E6}" type="pres">
      <dgm:prSet presAssocID="{DF493289-4FFF-4371-B4DB-D3DD8DA9D2B8}" presName="text_1" presStyleLbl="node1" presStyleIdx="0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8C3E7F02-F4FC-4DFD-8B6F-74B5C01FD1B5}" type="pres">
      <dgm:prSet presAssocID="{DF493289-4FFF-4371-B4DB-D3DD8DA9D2B8}" presName="accent_1" presStyleCnt="0"/>
      <dgm:spPr/>
    </dgm:pt>
    <dgm:pt modelId="{82E740E0-84E6-4501-AE5E-E8CC9FADE673}" type="pres">
      <dgm:prSet presAssocID="{DF493289-4FFF-4371-B4DB-D3DD8DA9D2B8}" presName="accentRepeatNode" presStyleLbl="solidFgAcc1" presStyleIdx="0" presStyleCnt="4"/>
      <dgm:spPr>
        <a:blipFill rotWithShape="0">
          <a:blip xmlns:r="http://schemas.openxmlformats.org/officeDocument/2006/relationships" r:embed="rId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935BBFBE-F32C-4401-B26A-0874B5C7D8C7}" type="pres">
      <dgm:prSet presAssocID="{9AFD6E77-9E63-4099-8C5D-F39078BC8F2D}" presName="text_2" presStyleLbl="node1" presStyleIdx="1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2DE25897-D3F4-4497-8746-3DCB365AD3A8}" type="pres">
      <dgm:prSet presAssocID="{9AFD6E77-9E63-4099-8C5D-F39078BC8F2D}" presName="accent_2" presStyleCnt="0"/>
      <dgm:spPr/>
    </dgm:pt>
    <dgm:pt modelId="{514B6486-449E-4571-9563-D26E04F35121}" type="pres">
      <dgm:prSet presAssocID="{9AFD6E77-9E63-4099-8C5D-F39078BC8F2D}" presName="accentRepeatNode" presStyleLbl="solidFgAcc1" presStyleIdx="1" presStyleCnt="4"/>
      <dgm:spPr>
        <a:blipFill rotWithShape="0">
          <a:blip xmlns:r="http://schemas.openxmlformats.org/officeDocument/2006/relationships"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8C66A07C-E43F-4ECB-975F-3F7BC60EBF1C}" type="pres">
      <dgm:prSet presAssocID="{B57CB6E8-0BBC-49EB-8EEB-3BCB6550562E}" presName="text_3" presStyleLbl="node1" presStyleIdx="2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98E57020-E015-4C3F-884C-9C8D538E958D}" type="pres">
      <dgm:prSet presAssocID="{B57CB6E8-0BBC-49EB-8EEB-3BCB6550562E}" presName="accent_3" presStyleCnt="0"/>
      <dgm:spPr/>
    </dgm:pt>
    <dgm:pt modelId="{BDA1F2E8-63B2-4BA8-8C99-8D12BAD82E9A}" type="pres">
      <dgm:prSet presAssocID="{B57CB6E8-0BBC-49EB-8EEB-3BCB6550562E}" presName="accentRepeatNode" presStyleLbl="solidFgAcc1" presStyleIdx="2" presStyleCnt="4"/>
      <dgm:spPr>
        <a:blipFill rotWithShape="0">
          <a:blip xmlns:r="http://schemas.openxmlformats.org/officeDocument/2006/relationships"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  <dgm:pt modelId="{1F86DC57-F3B5-4E11-A9C4-C7AA540F1F5B}" type="pres">
      <dgm:prSet presAssocID="{6442A913-37DA-460E-A8C0-CA5E548E42FB}" presName="text_4" presStyleLbl="node1" presStyleIdx="3" presStyleCnt="4">
        <dgm:presLayoutVars>
          <dgm:bulletEnabled val="1"/>
        </dgm:presLayoutVars>
      </dgm:prSet>
      <dgm:spPr/>
      <dgm:t>
        <a:bodyPr/>
        <a:lstStyle/>
        <a:p>
          <a:endParaRPr lang="fr-FR"/>
        </a:p>
      </dgm:t>
    </dgm:pt>
    <dgm:pt modelId="{49B3E9F1-1EF2-4EC4-B2C3-AF9A60F9B051}" type="pres">
      <dgm:prSet presAssocID="{6442A913-37DA-460E-A8C0-CA5E548E42FB}" presName="accent_4" presStyleCnt="0"/>
      <dgm:spPr/>
    </dgm:pt>
    <dgm:pt modelId="{1978F13C-3E18-486A-96EA-EA9F2E3A1FC1}" type="pres">
      <dgm:prSet presAssocID="{6442A913-37DA-460E-A8C0-CA5E548E42FB}" presName="accentRepeatNode" presStyleLbl="solidFgAcc1" presStyleIdx="3" presStyleCnt="4"/>
      <dgm:spPr>
        <a:blipFill rotWithShape="0">
          <a:blip xmlns:r="http://schemas.openxmlformats.org/officeDocument/2006/relationships"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</dgm:spPr>
    </dgm:pt>
  </dgm:ptLst>
  <dgm:cxnLst>
    <dgm:cxn modelId="{88CF18B3-1EBD-43D3-8011-603989571595}" type="presOf" srcId="{6442A913-37DA-460E-A8C0-CA5E548E42FB}" destId="{1F86DC57-F3B5-4E11-A9C4-C7AA540F1F5B}" srcOrd="0" destOrd="0" presId="urn:microsoft.com/office/officeart/2008/layout/VerticalCurvedList"/>
    <dgm:cxn modelId="{63774E84-550E-4F82-87AF-A182566FA468}" srcId="{760F263C-B766-45DF-8EB0-F56B6F8A8F03}" destId="{B57CB6E8-0BBC-49EB-8EEB-3BCB6550562E}" srcOrd="2" destOrd="0" parTransId="{C643EF98-3173-42BB-B0E5-1658C24C1B69}" sibTransId="{F14D34D2-AC32-4E1D-BFF7-79A4754D6074}"/>
    <dgm:cxn modelId="{85BC78AA-D416-4F54-BE39-4DE8717D1E51}" type="presOf" srcId="{34B50376-B457-4296-B04A-11208DD7AA81}" destId="{8C66A07C-E43F-4ECB-975F-3F7BC60EBF1C}" srcOrd="0" destOrd="1" presId="urn:microsoft.com/office/officeart/2008/layout/VerticalCurvedList"/>
    <dgm:cxn modelId="{EFA5B3C7-32B7-4C70-AB8D-E57FD1AA2D7C}" srcId="{760F263C-B766-45DF-8EB0-F56B6F8A8F03}" destId="{6442A913-37DA-460E-A8C0-CA5E548E42FB}" srcOrd="3" destOrd="0" parTransId="{42197E1A-6250-48E9-90CE-53021E1C2046}" sibTransId="{8E6173A1-2CC7-4769-AFB8-CDADE96C23E8}"/>
    <dgm:cxn modelId="{C52367E7-378A-4E5C-9B64-B83347638FA0}" type="presOf" srcId="{DF493289-4FFF-4371-B4DB-D3DD8DA9D2B8}" destId="{6B1296CB-AB5D-4A69-89C9-B40A589DE3E6}" srcOrd="0" destOrd="0" presId="urn:microsoft.com/office/officeart/2008/layout/VerticalCurvedList"/>
    <dgm:cxn modelId="{67ABD20C-A927-4C73-8F0B-860414BDFCD4}" srcId="{B57CB6E8-0BBC-49EB-8EEB-3BCB6550562E}" destId="{34B50376-B457-4296-B04A-11208DD7AA81}" srcOrd="0" destOrd="0" parTransId="{DF4171C8-B2FA-4DB9-A095-E3F335568C46}" sibTransId="{E8F0A599-A77E-48CF-B433-DCA19B77AB58}"/>
    <dgm:cxn modelId="{D5ACBF4D-C4E7-4840-880F-BEB4D5A5F062}" type="presOf" srcId="{2AC53462-8B16-466A-8BC3-CEC9AD29E92F}" destId="{AC10FFE1-E87C-4E84-8AE0-C4AB11482B4C}" srcOrd="0" destOrd="0" presId="urn:microsoft.com/office/officeart/2008/layout/VerticalCurvedList"/>
    <dgm:cxn modelId="{EA22CDB9-E630-49A7-B414-35512312991C}" type="presOf" srcId="{B57CB6E8-0BBC-49EB-8EEB-3BCB6550562E}" destId="{8C66A07C-E43F-4ECB-975F-3F7BC60EBF1C}" srcOrd="0" destOrd="0" presId="urn:microsoft.com/office/officeart/2008/layout/VerticalCurvedList"/>
    <dgm:cxn modelId="{F46D18A9-01FA-499C-8637-60EB26FE9DF8}" type="presOf" srcId="{9AFD6E77-9E63-4099-8C5D-F39078BC8F2D}" destId="{935BBFBE-F32C-4401-B26A-0874B5C7D8C7}" srcOrd="0" destOrd="0" presId="urn:microsoft.com/office/officeart/2008/layout/VerticalCurvedList"/>
    <dgm:cxn modelId="{ACCBEA46-5F38-483E-A3CA-1B563F9456BC}" srcId="{760F263C-B766-45DF-8EB0-F56B6F8A8F03}" destId="{DF493289-4FFF-4371-B4DB-D3DD8DA9D2B8}" srcOrd="0" destOrd="0" parTransId="{61FA9251-9423-4C9C-A886-801DE53538D2}" sibTransId="{2AC53462-8B16-466A-8BC3-CEC9AD29E92F}"/>
    <dgm:cxn modelId="{A1539BDF-6BD4-47EE-990E-C4BBE0021B29}" srcId="{760F263C-B766-45DF-8EB0-F56B6F8A8F03}" destId="{9AFD6E77-9E63-4099-8C5D-F39078BC8F2D}" srcOrd="1" destOrd="0" parTransId="{949180B7-13D1-4552-BF8C-31954B7D0574}" sibTransId="{65F5F48C-8C26-4F61-A54B-96B9600F60BC}"/>
    <dgm:cxn modelId="{F56C632F-6327-4E3B-A880-48304CB6AC39}" type="presOf" srcId="{760F263C-B766-45DF-8EB0-F56B6F8A8F03}" destId="{7F42C2F3-D515-4FCF-841F-ABA550719710}" srcOrd="0" destOrd="0" presId="urn:microsoft.com/office/officeart/2008/layout/VerticalCurvedList"/>
    <dgm:cxn modelId="{B011AFE6-4CF2-43A3-9CA3-E00F02C94473}" type="presParOf" srcId="{7F42C2F3-D515-4FCF-841F-ABA550719710}" destId="{0C4AD8DD-9859-48D5-8E7A-15AD578631B8}" srcOrd="0" destOrd="0" presId="urn:microsoft.com/office/officeart/2008/layout/VerticalCurvedList"/>
    <dgm:cxn modelId="{6085488B-7581-43FE-8D08-9D2941B7944F}" type="presParOf" srcId="{0C4AD8DD-9859-48D5-8E7A-15AD578631B8}" destId="{8A85DC52-1B8F-482E-A7FB-938C5C6A7522}" srcOrd="0" destOrd="0" presId="urn:microsoft.com/office/officeart/2008/layout/VerticalCurvedList"/>
    <dgm:cxn modelId="{67BA3624-BB0F-4A27-8209-B54BDF4C3E97}" type="presParOf" srcId="{8A85DC52-1B8F-482E-A7FB-938C5C6A7522}" destId="{23C60F38-8372-42F2-903C-EAD7E5662F59}" srcOrd="0" destOrd="0" presId="urn:microsoft.com/office/officeart/2008/layout/VerticalCurvedList"/>
    <dgm:cxn modelId="{0D060B8A-5706-4158-AE35-095F3EC2DAB4}" type="presParOf" srcId="{8A85DC52-1B8F-482E-A7FB-938C5C6A7522}" destId="{AC10FFE1-E87C-4E84-8AE0-C4AB11482B4C}" srcOrd="1" destOrd="0" presId="urn:microsoft.com/office/officeart/2008/layout/VerticalCurvedList"/>
    <dgm:cxn modelId="{5F094D72-5779-4AE7-AAB4-6335DC041EEF}" type="presParOf" srcId="{8A85DC52-1B8F-482E-A7FB-938C5C6A7522}" destId="{19347E03-FED0-4B71-B4FD-42073013372D}" srcOrd="2" destOrd="0" presId="urn:microsoft.com/office/officeart/2008/layout/VerticalCurvedList"/>
    <dgm:cxn modelId="{F403440C-8EDC-4BB0-95BE-6DF94B4F218C}" type="presParOf" srcId="{8A85DC52-1B8F-482E-A7FB-938C5C6A7522}" destId="{6B438017-740A-403D-A60C-9096D83FBE9B}" srcOrd="3" destOrd="0" presId="urn:microsoft.com/office/officeart/2008/layout/VerticalCurvedList"/>
    <dgm:cxn modelId="{CF78B8B1-D094-43BB-982A-9ACC82C738C0}" type="presParOf" srcId="{0C4AD8DD-9859-48D5-8E7A-15AD578631B8}" destId="{6B1296CB-AB5D-4A69-89C9-B40A589DE3E6}" srcOrd="1" destOrd="0" presId="urn:microsoft.com/office/officeart/2008/layout/VerticalCurvedList"/>
    <dgm:cxn modelId="{E9839147-BC39-4A48-847D-495242336968}" type="presParOf" srcId="{0C4AD8DD-9859-48D5-8E7A-15AD578631B8}" destId="{8C3E7F02-F4FC-4DFD-8B6F-74B5C01FD1B5}" srcOrd="2" destOrd="0" presId="urn:microsoft.com/office/officeart/2008/layout/VerticalCurvedList"/>
    <dgm:cxn modelId="{08B9CFB5-E7AC-4781-B8D8-58AE7B6535AE}" type="presParOf" srcId="{8C3E7F02-F4FC-4DFD-8B6F-74B5C01FD1B5}" destId="{82E740E0-84E6-4501-AE5E-E8CC9FADE673}" srcOrd="0" destOrd="0" presId="urn:microsoft.com/office/officeart/2008/layout/VerticalCurvedList"/>
    <dgm:cxn modelId="{1F1173F2-01E2-481B-915B-1EA79FBBB7A7}" type="presParOf" srcId="{0C4AD8DD-9859-48D5-8E7A-15AD578631B8}" destId="{935BBFBE-F32C-4401-B26A-0874B5C7D8C7}" srcOrd="3" destOrd="0" presId="urn:microsoft.com/office/officeart/2008/layout/VerticalCurvedList"/>
    <dgm:cxn modelId="{F1341287-622F-434E-8869-A47A3E984A90}" type="presParOf" srcId="{0C4AD8DD-9859-48D5-8E7A-15AD578631B8}" destId="{2DE25897-D3F4-4497-8746-3DCB365AD3A8}" srcOrd="4" destOrd="0" presId="urn:microsoft.com/office/officeart/2008/layout/VerticalCurvedList"/>
    <dgm:cxn modelId="{079FFE59-0333-4A6C-B891-FB4875D148E5}" type="presParOf" srcId="{2DE25897-D3F4-4497-8746-3DCB365AD3A8}" destId="{514B6486-449E-4571-9563-D26E04F35121}" srcOrd="0" destOrd="0" presId="urn:microsoft.com/office/officeart/2008/layout/VerticalCurvedList"/>
    <dgm:cxn modelId="{78E7BF77-8FBA-4B38-B9D5-C4092B8A957E}" type="presParOf" srcId="{0C4AD8DD-9859-48D5-8E7A-15AD578631B8}" destId="{8C66A07C-E43F-4ECB-975F-3F7BC60EBF1C}" srcOrd="5" destOrd="0" presId="urn:microsoft.com/office/officeart/2008/layout/VerticalCurvedList"/>
    <dgm:cxn modelId="{A84BC13F-6810-4C9A-A3A1-0F94B8DAC8EA}" type="presParOf" srcId="{0C4AD8DD-9859-48D5-8E7A-15AD578631B8}" destId="{98E57020-E015-4C3F-884C-9C8D538E958D}" srcOrd="6" destOrd="0" presId="urn:microsoft.com/office/officeart/2008/layout/VerticalCurvedList"/>
    <dgm:cxn modelId="{EA9BAE49-914A-4CAF-8269-5A13BF566827}" type="presParOf" srcId="{98E57020-E015-4C3F-884C-9C8D538E958D}" destId="{BDA1F2E8-63B2-4BA8-8C99-8D12BAD82E9A}" srcOrd="0" destOrd="0" presId="urn:microsoft.com/office/officeart/2008/layout/VerticalCurvedList"/>
    <dgm:cxn modelId="{42AB2CE0-7A65-4349-B4D6-97D9403AC402}" type="presParOf" srcId="{0C4AD8DD-9859-48D5-8E7A-15AD578631B8}" destId="{1F86DC57-F3B5-4E11-A9C4-C7AA540F1F5B}" srcOrd="7" destOrd="0" presId="urn:microsoft.com/office/officeart/2008/layout/VerticalCurvedList"/>
    <dgm:cxn modelId="{848D1A16-F223-4CA8-B8CA-B18071E1CA69}" type="presParOf" srcId="{0C4AD8DD-9859-48D5-8E7A-15AD578631B8}" destId="{49B3E9F1-1EF2-4EC4-B2C3-AF9A60F9B051}" srcOrd="8" destOrd="0" presId="urn:microsoft.com/office/officeart/2008/layout/VerticalCurvedList"/>
    <dgm:cxn modelId="{A3507D56-9A45-46A8-8E05-0A4B152177CE}" type="presParOf" srcId="{49B3E9F1-1EF2-4EC4-B2C3-AF9A60F9B051}" destId="{1978F13C-3E18-486A-96EA-EA9F2E3A1FC1}" srcOrd="0" destOrd="0" presId="urn:microsoft.com/office/officeart/2008/layout/VerticalCurvedList"/>
  </dgm:cxnLst>
  <dgm:bg/>
  <dgm:whole/>
  <dgm:extLst>
    <a:ext uri="http://schemas.microsoft.com/office/drawing/2008/diagram">
      <dsp:dataModelExt xmlns:dsp="http://schemas.microsoft.com/office/drawing/2008/diagram" relId="rId6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vList3">
  <dgm:title val=""/>
  <dgm:desc val=""/>
  <dgm:catLst>
    <dgm:cat type="list" pri="14000"/>
    <dgm:cat type="convert" pri="3000"/>
    <dgm:cat type="picture" pri="27000"/>
    <dgm:cat type="pictureconvert" pri="27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Flow">
    <dgm:varLst>
      <dgm:dir/>
      <dgm:resizeHandles val="exact"/>
    </dgm:varLst>
    <dgm:alg type="lin">
      <dgm:param type="linDir" val="fromT"/>
      <dgm:param type="vertAlign" val="mid"/>
      <dgm:param type="horzAlign" val="ctr"/>
    </dgm:alg>
    <dgm:shape xmlns:r="http://schemas.openxmlformats.org/officeDocument/2006/relationships" r:blip="">
      <dgm:adjLst/>
    </dgm:shape>
    <dgm:presOf/>
    <dgm:constrLst>
      <dgm:constr type="w" for="ch" forName="composite" refType="w"/>
      <dgm:constr type="h" for="ch" forName="composite" refType="h"/>
      <dgm:constr type="h" for="ch" forName="spacing" refType="h" refFor="ch" refForName="composite" fact="0.25"/>
      <dgm:constr type="h" for="ch" forName="spacing" refType="w" op="lte" fact="0.1"/>
      <dgm:constr type="primFontSz" for="des" ptType="node" op="equ" val="65"/>
    </dgm:constrLst>
    <dgm:ruleLst/>
    <dgm:forEach name="Name0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hoose name="Name1">
          <dgm:if name="Name2" func="var" arg="dir" op="equ" val="norm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l" for="ch" forName="imgShp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l" for="ch" forName="txShp" refType="w" refFor="ch" refForName="imgShp" fact="0.5"/>
              <dgm:constr type="lMarg" for="ch" forName="txShp" refType="w" refFor="ch" refForName="imgShp" fact="1.25"/>
            </dgm:constrLst>
          </dgm:if>
          <dgm:else name="Name3">
            <dgm:constrLst>
              <dgm:constr type="w" for="ch" forName="imgShp" refType="w" fact="0.335"/>
              <dgm:constr type="h" for="ch" forName="imgShp" refType="w" refFor="ch" refForName="imgShp" op="equ"/>
              <dgm:constr type="h" for="ch" forName="imgShp" refType="h" op="lte"/>
              <dgm:constr type="ctrY" for="ch" forName="imgShp" refType="h" fact="0.5"/>
              <dgm:constr type="r" for="ch" forName="imgShp" refType="w"/>
              <dgm:constr type="w" for="ch" forName="txShp" refType="w" op="equ" fact="0.665"/>
              <dgm:constr type="h" for="ch" forName="txShp" refType="h" refFor="ch" refForName="imgShp" op="equ"/>
              <dgm:constr type="ctrY" for="ch" forName="txShp" refType="h" fact="0.5"/>
              <dgm:constr type="r" for="ch" forName="txShp" refType="ctrX" refFor="ch" refForName="imgShp"/>
              <dgm:constr type="rMarg" for="ch" forName="txShp" refType="w" refFor="ch" refForName="imgShp" fact="1.25"/>
            </dgm:constrLst>
          </dgm:else>
        </dgm:choose>
        <dgm:ruleLst/>
        <dgm:layoutNode name="imgShp" styleLbl="fgImgPlace1">
          <dgm:alg type="sp"/>
          <dgm:shape xmlns:r="http://schemas.openxmlformats.org/officeDocument/2006/relationships" type="ellipse" r:blip="" blipPhldr="1">
            <dgm:adjLst/>
          </dgm:shape>
          <dgm:presOf/>
          <dgm:constrLst/>
          <dgm:ruleLst/>
        </dgm:layoutNode>
        <dgm:layoutNode name="txShp">
          <dgm:varLst>
            <dgm:bulletEnabled val="1"/>
          </dgm:varLst>
          <dgm:alg type="tx"/>
          <dgm:choose name="Name4">
            <dgm:if name="Name5" func="var" arg="dir" op="equ" val="norm">
              <dgm:shape xmlns:r="http://schemas.openxmlformats.org/officeDocument/2006/relationships" rot="180" type="homePlate" r:blip="" zOrderOff="-1">
                <dgm:adjLst/>
              </dgm:shape>
            </dgm:if>
            <dgm:else name="Name6">
              <dgm:shape xmlns:r="http://schemas.openxmlformats.org/officeDocument/2006/relationships" type="homePlate" r:blip="" zOrderOff="-1">
                <dgm:adjLst/>
              </dgm:shape>
            </dgm:else>
          </dgm:choose>
          <dgm:presOf axis="desOrSelf" ptType="node"/>
          <dgm:constrLst>
            <dgm:constr type="tMarg" refType="primFontSz" fact="0.3"/>
            <dgm:constr type="bMarg" refType="primFontSz" fact="0.3"/>
          </dgm:constrLst>
          <dgm:ruleLst>
            <dgm:rule type="primFontSz" val="5" fact="NaN" max="NaN"/>
          </dgm:ruleLst>
        </dgm:layoutNode>
      </dgm:layoutNode>
      <dgm:forEach name="Name7" axis="followSib" ptType="sibTrans" cnt="1">
        <dgm:layoutNode name="spacing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default">
  <dgm:title val=""/>
  <dgm:desc val=""/>
  <dgm:catLst>
    <dgm:cat type="list" pri="4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  <dgm:pt modelId="5">
          <dgm:prSet phldr="1"/>
        </dgm:pt>
      </dgm:ptLst>
      <dgm:cxnLst>
        <dgm:cxn modelId="6" srcId="0" destId="1" srcOrd="0" destOrd="0"/>
        <dgm:cxn modelId="7" srcId="0" destId="2" srcOrd="1" destOrd="0"/>
        <dgm:cxn modelId="8" srcId="0" destId="3" srcOrd="2" destOrd="0"/>
        <dgm:cxn modelId="9" srcId="0" destId="4" srcOrd="3" destOrd="0"/>
        <dgm:cxn modelId="10" srcId="0" destId="5" srcOrd="4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  <dgm:pt modelId="5"/>
        <dgm:pt modelId="6"/>
      </dgm:ptLst>
      <dgm:cxnLst>
        <dgm:cxn modelId="7" srcId="0" destId="1" srcOrd="0" destOrd="0"/>
        <dgm:cxn modelId="8" srcId="0" destId="2" srcOrd="1" destOrd="0"/>
        <dgm:cxn modelId="9" srcId="0" destId="3" srcOrd="2" destOrd="0"/>
        <dgm:cxn modelId="10" srcId="0" destId="4" srcOrd="3" destOrd="0"/>
        <dgm:cxn modelId="11" srcId="0" destId="5" srcOrd="4" destOrd="0"/>
        <dgm:cxn modelId="12" srcId="0" destId="6" srcOrd="5" destOrd="0"/>
      </dgm:cxnLst>
      <dgm:bg/>
      <dgm:whole/>
    </dgm:dataModel>
  </dgm:clrData>
  <dgm:layoutNode name="diagram">
    <dgm:varLst>
      <dgm:dir/>
      <dgm:resizeHandles val="exact"/>
    </dgm:varLst>
    <dgm:choose name="Name0">
      <dgm:if name="Name1" func="var" arg="dir" op="equ" val="norm">
        <dgm:alg type="snake">
          <dgm:param type="grDir" val="tL"/>
          <dgm:param type="flowDir" val="row"/>
          <dgm:param type="contDir" val="sameDir"/>
          <dgm:param type="off" val="ctr"/>
        </dgm:alg>
      </dgm:if>
      <dgm:else name="Name2">
        <dgm:alg type="snake">
          <dgm:param type="grDir" val="tR"/>
          <dgm:param type="flowDir" val="row"/>
          <dgm:param type="contDir" val="sameDir"/>
          <dgm:param type="off" val="ctr"/>
        </dgm:alg>
      </dgm:else>
    </dgm:choose>
    <dgm:shape xmlns:r="http://schemas.openxmlformats.org/officeDocument/2006/relationships" r:blip="">
      <dgm:adjLst/>
    </dgm:shape>
    <dgm:presOf/>
    <dgm:constrLst>
      <dgm:constr type="w" for="ch" forName="node" refType="w"/>
      <dgm:constr type="h" for="ch" forName="node" refType="w" refFor="ch" refForName="node" fact="0.6"/>
      <dgm:constr type="w" for="ch" forName="sibTrans" refType="w" refFor="ch" refForName="node" fact="0.1"/>
      <dgm:constr type="sp" refType="w" refFor="ch" refForName="sibTrans"/>
      <dgm:constr type="primFontSz" for="ch" forName="node" op="equ" val="65"/>
    </dgm:constrLst>
    <dgm:ruleLst/>
    <dgm:forEach name="Name3" axis="ch" ptType="node">
      <dgm:layoutNode name="node">
        <dgm:varLst>
          <dgm:bulletEnabled val="1"/>
        </dgm:varLst>
        <dgm:alg type="tx"/>
        <dgm:shape xmlns:r="http://schemas.openxmlformats.org/officeDocument/2006/relationships" type="rect" r:blip="">
          <dgm:adjLst/>
        </dgm:shape>
        <dgm:presOf axis="desOrSelf" ptType="node"/>
        <dgm:constrLst>
          <dgm:constr type="lMarg" refType="primFontSz" fact="0.3"/>
          <dgm:constr type="rMarg" refType="primFontSz" fact="0.3"/>
          <dgm:constr type="tMarg" refType="primFontSz" fact="0.3"/>
          <dgm:constr type="bMarg" refType="primFontSz" fact="0.3"/>
        </dgm:constrLst>
        <dgm:ruleLst>
          <dgm:rule type="primFontSz" val="5" fact="NaN" max="NaN"/>
        </dgm:ruleLst>
      </dgm:layoutNode>
      <dgm:forEach name="Name4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6">
  <dgm:title val=""/>
  <dgm:desc val=""/>
  <dgm:catLst>
    <dgm:cat type="list" pri="18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/>
        <dgm:pt modelId="11"/>
        <dgm:pt modelId="2"/>
        <dgm:pt modelId="21"/>
      </dgm:ptLst>
      <dgm:cxnLst>
        <dgm:cxn modelId="4" srcId="0" destId="1" srcOrd="0" destOrd="0"/>
        <dgm:cxn modelId="5" srcId="0" destId="2" srcOrd="1" destOrd="0"/>
        <dgm:cxn modelId="13" srcId="1" destId="11" srcOrd="0" destOrd="0"/>
        <dgm:cxn modelId="23" srcId="2" destId="21" srcOrd="0" destOrd="0"/>
      </dgm:cxnLst>
      <dgm:bg/>
      <dgm:whole/>
    </dgm:dataModel>
  </dgm:styleData>
  <dgm:clrData>
    <dgm:dataModel>
      <dgm:ptLst>
        <dgm:pt modelId="0" type="doc"/>
        <dgm:pt modelId="1"/>
        <dgm:pt modelId="11"/>
        <dgm:pt modelId="2"/>
        <dgm:pt modelId="21"/>
        <dgm:pt modelId="3"/>
        <dgm:pt modelId="31"/>
        <dgm:pt modelId="4"/>
        <dgm:pt modelId="41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  <dgm:cxn modelId="13" srcId="1" destId="11" srcOrd="0" destOrd="0"/>
        <dgm:cxn modelId="23" srcId="2" destId="21" srcOrd="0" destOrd="0"/>
        <dgm:cxn modelId="33" srcId="3" destId="31" srcOrd="0" destOrd="0"/>
        <dgm:cxn modelId="43" srcId="4" destId="41" srcOrd="0" destOrd="0"/>
      </dgm:cxnLst>
      <dgm:bg/>
      <dgm:whole/>
    </dgm:dataModel>
  </dgm:clrData>
  <dgm:layoutNode name="Name0">
    <dgm:varLst>
      <dgm:dir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ptType="node" refType="h"/>
      <dgm:constr type="w" for="ch" ptType="node" refType="w"/>
      <dgm:constr type="primFontSz" for="ch" ptType="node" op="equ"/>
      <dgm:constr type="w" for="ch" forName="sibTrans" refType="w" fact="0.075"/>
    </dgm:constrLst>
    <dgm:ruleLst/>
    <dgm:forEach name="nodesForEach" axis="ch" ptType="node">
      <dgm:layoutNode name="node">
        <dgm:varLst>
          <dgm:bulletEnabled val="1"/>
        </dgm:varLst>
        <dgm:alg type="tx"/>
        <dgm:choose name="Name4">
          <dgm:if name="Name5" func="var" arg="dir" op="equ" val="norm">
            <dgm:shape xmlns:r="http://schemas.openxmlformats.org/officeDocument/2006/relationships" rot="-90" type="flowChartManualOperation" r:blip="">
              <dgm:adjLst/>
            </dgm:shape>
          </dgm:if>
          <dgm:else name="Name6">
            <dgm:shape xmlns:r="http://schemas.openxmlformats.org/officeDocument/2006/relationships" rot="90" type="flowChartManualOperation" r:blip="">
              <dgm:adjLst/>
            </dgm:shape>
          </dgm:else>
        </dgm:choose>
        <dgm:presOf axis="desOrSelf" ptType="node"/>
        <dgm:constrLst>
          <dgm:constr type="primFontSz" val="65"/>
          <dgm:constr type="tMarg"/>
          <dgm:constr type="bMarg"/>
          <dgm:constr type="lMarg" refType="primFontSz" fact="0.5"/>
          <dgm:constr type="rMarg" refType="lMarg"/>
        </dgm:constrLst>
        <dgm:ruleLst>
          <dgm:rule type="primFontSz" val="5" fact="NaN" max="NaN"/>
        </dgm:ruleLst>
      </dgm:layoutNode>
      <dgm:forEach name="sibTransForEach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pyramid3">
  <dgm:title val=""/>
  <dgm:desc val=""/>
  <dgm:catLst>
    <dgm:cat type="pyramid" pri="2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pyra">
          <dgm:param type="linDir" val="fromT"/>
          <dgm:param type="txDir" val="fromT"/>
          <dgm:param type="pyraAcctPos" val="aft"/>
          <dgm:param type="pyraAcctTxMar" val="step"/>
          <dgm:param type="pyraAcctBkgdNode" val="acctBkgd"/>
          <dgm:param type="pyraAcctTxNode" val="acctTx"/>
          <dgm:param type="pyraLvlNode" val="level"/>
        </dgm:alg>
      </dgm:if>
      <dgm:else name="Name3">
        <dgm:alg type="pyra">
          <dgm:param type="linDir" val="fromT"/>
          <dgm:param type="txDir" val="fromT"/>
          <dgm:param type="pyraAcctPos" val="bef"/>
          <dgm:param type="pyraAcctTxMar" val="step"/>
          <dgm:param type="pyraAcctBkgdNode" val="acctBkgd"/>
          <dgm:param type="pyraAcctTxNode" val="acctTx"/>
          <dgm:param type="pyraLvlNode" val="level"/>
        </dgm:alg>
      </dgm:else>
    </dgm:choose>
    <dgm:shape xmlns:r="http://schemas.openxmlformats.org/officeDocument/2006/relationships" r:blip="">
      <dgm:adjLst/>
    </dgm:shape>
    <dgm:presOf/>
    <dgm:choose name="Name4">
      <dgm:if name="Name5" axis="root des" ptType="all node" func="maxDepth" op="gte" val="2">
        <dgm:constrLst>
          <dgm:constr type="primFontSz" for="des" forName="levelTx" op="equ"/>
          <dgm:constr type="secFontSz" for="des" forName="acctTx" op="equ"/>
          <dgm:constr type="pyraAcctRatio" val="0.32"/>
        </dgm:constrLst>
      </dgm:if>
      <dgm:else name="Name6">
        <dgm:constrLst>
          <dgm:constr type="primFontSz" for="des" forName="levelTx" op="equ"/>
          <dgm:constr type="secFontSz" for="des" forName="acctTx" op="equ"/>
          <dgm:constr type="pyraAcctRatio"/>
        </dgm:constrLst>
      </dgm:else>
    </dgm:choose>
    <dgm:ruleLst/>
    <dgm:forEach name="Name7" axis="ch" ptType="node">
      <dgm:layoutNode name="Name8">
        <dgm:alg type="composite">
          <dgm:param type="horzAlign" val="none"/>
        </dgm:alg>
        <dgm:shape xmlns:r="http://schemas.openxmlformats.org/officeDocument/2006/relationships" r:blip="">
          <dgm:adjLst/>
        </dgm:shape>
        <dgm:presOf/>
        <dgm:choose name="Name9">
          <dgm:if name="Name10" axis="self" ptType="node" func="revPos" op="equ" val="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/>
              <dgm:constr type="h" for="ch" forName="levelTx" refType="h" refFor="ch" refForName="level"/>
            </dgm:constrLst>
          </dgm:if>
          <dgm:else name="Name11">
            <dgm:constrLst>
              <dgm:constr type="ctrX" for="ch" forName="acctBkgd" val="1"/>
              <dgm:constr type="ctrY" for="ch" forName="acctBkgd" val="1"/>
              <dgm:constr type="w" for="ch" forName="acctBkgd" val="1"/>
              <dgm:constr type="h" for="ch" forName="acctBkgd" val="1"/>
              <dgm:constr type="ctrX" for="ch" forName="acctTx" val="1"/>
              <dgm:constr type="ctrY" for="ch" forName="acctTx" val="1"/>
              <dgm:constr type="w" for="ch" forName="acctTx" val="1"/>
              <dgm:constr type="h" for="ch" forName="acctTx" val="1"/>
              <dgm:constr type="ctrX" for="ch" forName="level" val="1"/>
              <dgm:constr type="ctrY" for="ch" forName="level" val="1"/>
              <dgm:constr type="w" for="ch" forName="level" val="1"/>
              <dgm:constr type="h" for="ch" forName="level" val="1"/>
              <dgm:constr type="ctrX" for="ch" forName="levelTx" refType="ctrX" refFor="ch" refForName="level"/>
              <dgm:constr type="ctrY" for="ch" forName="levelTx" refType="ctrY" refFor="ch" refForName="level"/>
              <dgm:constr type="w" for="ch" forName="levelTx" refType="w" refFor="ch" refForName="level" fact="0.65"/>
              <dgm:constr type="h" for="ch" forName="levelTx" refType="h" refFor="ch" refForName="level"/>
            </dgm:constrLst>
          </dgm:else>
        </dgm:choose>
        <dgm:ruleLst/>
        <dgm:choose name="Name12">
          <dgm:if name="Name13" axis="ch" ptType="node" func="cnt" op="gte" val="1">
            <dgm:layoutNode name="acctBkgd" styleLbl="alignAcc1">
              <dgm:alg type="sp"/>
              <dgm:shape xmlns:r="http://schemas.openxmlformats.org/officeDocument/2006/relationships" type="nonIsoscelesTrapezoid" r:blip="">
                <dgm:adjLst/>
              </dgm:shape>
              <dgm:presOf axis="des" ptType="node"/>
              <dgm:constrLst/>
              <dgm:ruleLst/>
            </dgm:layoutNode>
            <dgm:layoutNode name="acctTx" styleLbl="alignAcc1">
              <dgm:varLst>
                <dgm:bulletEnabled val="1"/>
              </dgm:varLst>
              <dgm:alg type="tx">
                <dgm:param type="stBulletLvl" val="1"/>
                <dgm:param type="txAnchorVertCh" val="t"/>
              </dgm:alg>
              <dgm:shape xmlns:r="http://schemas.openxmlformats.org/officeDocument/2006/relationships" type="nonIsoscelesTrapezoid" r:blip="" hideGeom="1">
                <dgm:adjLst/>
              </dgm:shape>
              <dgm:presOf axis="des" ptType="node"/>
              <dgm:constrLst>
                <dgm:constr type="secFontSz" val="65"/>
                <dgm:constr type="primFontSz" refType="secFontSz"/>
                <dgm:constr type="tMarg" refType="secFontSz" fact="0.3"/>
                <dgm:constr type="bMarg" refType="secFontSz" fact="0.3"/>
                <dgm:constr type="lMarg" refType="secFontSz" fact="0.3"/>
                <dgm:constr type="rMarg" refType="secFontSz" fact="0.3"/>
              </dgm:constrLst>
              <dgm:ruleLst>
                <dgm:rule type="secFontSz" val="5" fact="NaN" max="NaN"/>
              </dgm:ruleLst>
            </dgm:layoutNode>
          </dgm:if>
          <dgm:else name="Name14"/>
        </dgm:choose>
        <dgm:layoutNode name="level">
          <dgm:varLst>
            <dgm:chMax val="1"/>
            <dgm:bulletEnabled val="1"/>
          </dgm:varLst>
          <dgm:alg type="sp"/>
          <dgm:shape xmlns:r="http://schemas.openxmlformats.org/officeDocument/2006/relationships" type="trapezoid" r:blip="">
            <dgm:adjLst/>
          </dgm:shape>
          <dgm:presOf axis="self"/>
          <dgm:constrLst>
            <dgm:constr type="h" val="500"/>
            <dgm:constr type="w" val="1"/>
          </dgm:constrLst>
          <dgm:ruleLst/>
        </dgm:layoutNode>
        <dgm:layoutNode name="levelTx" styleLbl="revTx">
          <dgm:varLst>
            <dgm:chMax val="1"/>
            <dgm:bulletEnabled val="1"/>
          </dgm:varLst>
          <dgm:alg type="tx"/>
          <dgm:shape xmlns:r="http://schemas.openxmlformats.org/officeDocument/2006/relationships" type="rect" r:blip="" hideGeom="1">
            <dgm:adjLst/>
          </dgm:shape>
          <dgm:presOf axis="self"/>
          <dgm:constrLst>
            <dgm:constr type="tMarg" refType="primFontSz" fact="0.1"/>
            <dgm:constr type="bMarg" refType="primFontSz" fact="0.1"/>
            <dgm:constr type="lMarg" refType="primFontSz" fact="0.1"/>
            <dgm:constr type="rMarg" refType="primFontSz" fact="0.1"/>
            <dgm:constr type="primFontSz" val="65"/>
          </dgm:constrLst>
          <dgm:ruleLst>
            <dgm:rule type="primFontSz" val="5" fact="NaN" max="NaN"/>
          </dgm:ruleLst>
        </dgm:layoutNode>
      </dgm:layoutNode>
    </dgm:forEach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vList2">
  <dgm:title val=""/>
  <dgm:desc val=""/>
  <dgm:catLst>
    <dgm:cat type="list" pri="3000"/>
    <dgm:cat type="convert" pri="1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2">
          <dgm:prSet phldr="1"/>
        </dgm:pt>
        <dgm:pt modelId="21">
          <dgm:prSet phldr="1"/>
        </dgm:pt>
      </dgm:ptLst>
      <dgm:cxnLst>
        <dgm:cxn modelId="4" srcId="0" destId="1" srcOrd="0" destOrd="0"/>
        <dgm:cxn modelId="5" srcId="0" destId="2" srcOrd="1" destOrd="0"/>
        <dgm:cxn modelId="12" srcId="1" destId="11" srcOrd="0" destOrd="0"/>
        <dgm:cxn modelId="23" srcId="2" destId="21" srcOrd="0" destOrd="0"/>
      </dgm:cxnLst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linear">
    <dgm:varLst>
      <dgm:animLvl val="lvl"/>
      <dgm:resizeHandles val="exact"/>
    </dgm:varLst>
    <dgm:alg type="lin">
      <dgm:param type="linDir" val="fromT"/>
      <dgm:param type="vertAlign" val="mid"/>
    </dgm:alg>
    <dgm:shape xmlns:r="http://schemas.openxmlformats.org/officeDocument/2006/relationships" r:blip="">
      <dgm:adjLst/>
    </dgm:shape>
    <dgm:presOf/>
    <dgm:constrLst>
      <dgm:constr type="w" for="ch" forName="parentText" refType="w"/>
      <dgm:constr type="h" for="ch" forName="parentText" refType="primFontSz" refFor="ch" refForName="parentText" fact="0.52"/>
      <dgm:constr type="w" for="ch" forName="childText" refType="w"/>
      <dgm:constr type="h" for="ch" forName="childText" refType="primFontSz" refFor="ch" refForName="parentText" fact="0.46"/>
      <dgm:constr type="h" for="ch" forName="parentText" op="equ"/>
      <dgm:constr type="primFontSz" for="ch" forName="parentText" op="equ" val="65"/>
      <dgm:constr type="primFontSz" for="ch" forName="childText" refType="primFontSz" refFor="ch" refForName="parentText" op="equ"/>
      <dgm:constr type="h" for="ch" forName="spacer" refType="primFontSz" refFor="ch" refForName="parentText" fact="0.08"/>
    </dgm:constrLst>
    <dgm:ruleLst>
      <dgm:rule type="primFontSz" for="ch" forName="parentText" val="5" fact="NaN" max="NaN"/>
    </dgm:ruleLst>
    <dgm:forEach name="Name0" axis="ch" ptType="node">
      <dgm:layoutNode name="parentText" styleLbl="node1">
        <dgm:varLst>
          <dgm:chMax val="0"/>
          <dgm:bulletEnabled val="1"/>
        </dgm:varLst>
        <dgm:alg type="tx">
          <dgm:param type="parTxLTRAlign" val="l"/>
          <dgm:param type="parTxRTLAlign" val="r"/>
        </dgm:alg>
        <dgm:shape xmlns:r="http://schemas.openxmlformats.org/officeDocument/2006/relationships" type="roundRect" r:blip="">
          <dgm:adjLst/>
        </dgm:shape>
        <dgm:presOf axis="self"/>
        <dgm:constrLst>
          <dgm:constr type="tMarg" refType="primFontSz" fact="0.3"/>
          <dgm:constr type="bMarg" refType="primFontSz" fact="0.3"/>
          <dgm:constr type="lMarg" refType="primFontSz" fact="0.3"/>
          <dgm:constr type="rMarg" refType="primFontSz" fact="0.3"/>
        </dgm:constrLst>
        <dgm:ruleLst>
          <dgm:rule type="h" val="INF" fact="NaN" max="NaN"/>
        </dgm:ruleLst>
      </dgm:layoutNode>
      <dgm:choose name="Name1">
        <dgm:if name="Name2" axis="ch" ptType="node" func="cnt" op="gte" val="1">
          <dgm:layoutNode name="childText" styleLbl="revTx">
            <dgm:varLst>
              <dgm:bulletEnabled val="1"/>
            </dgm:varLst>
            <dgm:alg type="tx">
              <dgm:param type="stBulletLvl" val="1"/>
              <dgm:param type="lnSpAfChP" val="20"/>
            </dgm:alg>
            <dgm:shape xmlns:r="http://schemas.openxmlformats.org/officeDocument/2006/relationships" type="rect" r:blip="">
              <dgm:adjLst/>
            </dgm:shape>
            <dgm:presOf axis="des" ptType="node"/>
            <dgm:constrLst>
              <dgm:constr type="tMarg" refType="primFontSz" fact="0.1"/>
              <dgm:constr type="bMarg" refType="primFontSz" fact="0.1"/>
              <dgm:constr type="lMarg" refType="w" fact="0.09"/>
            </dgm:constrLst>
            <dgm:ruleLst>
              <dgm:rule type="h" val="INF" fact="NaN" max="NaN"/>
            </dgm:ruleLst>
          </dgm:layoutNode>
        </dgm:if>
        <dgm:else name="Name3">
          <dgm:choose name="Name4">
            <dgm:if name="Name5" axis="par ch" ptType="doc node" func="cnt" op="gte" val="2">
              <dgm:forEach name="Name6" axis="followSib" ptType="sibTrans" cnt="1">
                <dgm:layoutNode name="spacer">
                  <dgm:alg type="sp"/>
                  <dgm:shape xmlns:r="http://schemas.openxmlformats.org/officeDocument/2006/relationships" r:blip="">
                    <dgm:adjLst/>
                  </dgm:shape>
                  <dgm:presOf/>
                  <dgm:constrLst/>
                  <dgm:ruleLst/>
                </dgm:layoutNode>
              </dgm:forEach>
            </dgm:if>
            <dgm:else name="Name7"/>
          </dgm:choose>
        </dgm:else>
      </dgm:choose>
    </dgm:forEach>
  </dgm:layoutNode>
</dgm:layoutDef>
</file>

<file path=ppt/diagrams/layout7.xml><?xml version="1.0" encoding="utf-8"?>
<dgm:layoutDef xmlns:dgm="http://schemas.openxmlformats.org/drawingml/2006/diagram" xmlns:a="http://schemas.openxmlformats.org/drawingml/2006/main" uniqueId="urn:microsoft.com/office/officeart/2008/layout/VerticalCurvedList">
  <dgm:title val=""/>
  <dgm:desc val=""/>
  <dgm:catLst>
    <dgm:cat type="list" pri="20000"/>
  </dgm:catLst>
  <dgm:samp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chMax val="7"/>
      <dgm:chPref val="7"/>
      <dgm:dir/>
    </dgm:varLst>
    <dgm:alg type="composite"/>
    <dgm:shape xmlns:r="http://schemas.openxmlformats.org/officeDocument/2006/relationships" r:blip="">
      <dgm:adjLst/>
    </dgm:shape>
    <dgm:constrLst>
      <dgm:constr type="w" for="ch" refType="h" refFor="ch" op="gte" fact="0.8"/>
    </dgm:constrLst>
    <dgm:layoutNode name="Name1">
      <dgm:alg type="composite"/>
      <dgm:shape xmlns:r="http://schemas.openxmlformats.org/officeDocument/2006/relationships" r:blip="">
        <dgm:adjLst/>
      </dgm:shape>
      <dgm:choose name="Name2">
        <dgm:if name="Name3" func="var" arg="dir" op="equ" val="norm">
          <dgm:choose name="Name4">
            <dgm:if name="Name5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h" fact="0.225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primFontSz" for="ch" ptType="node" op="equ" val="65"/>
              </dgm:constrLst>
            </dgm:if>
            <dgm:if name="Name6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h" fact="0.1891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h" fact="0.1891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primFontSz" for="ch" ptType="node" op="equ" val="65"/>
              </dgm:constrLst>
            </dgm:if>
            <dgm:if name="Name7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h" fact="0.1526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h" fact="0.2253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h" fact="0.1526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primFontSz" for="ch" ptType="node" op="equ" val="65"/>
              </dgm:constrLst>
            </dgm:if>
            <dgm:if name="Name8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h" fact="0.1268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h" fact="0.215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h" fact="0.21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h" fact="0.126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primFontSz" for="ch" ptType="node" op="equ" val="65"/>
              </dgm:constrLst>
            </dgm:if>
            <dgm:if name="Name9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h" fact="0.1082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h" fact="0.197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h" fact="0.2253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h" fact="0.1978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h" fact="0.1082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primFontSz" for="ch" ptType="node" op="equ" val="65"/>
              </dgm:constrLst>
            </dgm:if>
            <dgm:if name="Name10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h" fact="0.0943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h" fact="0.1809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h" fact="0.2205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h" fact="0.2205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h" fact="0.18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h" fact="0.0943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primFontSz" for="ch" ptType="node" op="equ" val="65"/>
              </dgm:constrLst>
            </dgm:if>
            <dgm:else name="Name11">
              <dgm:constrLst>
                <dgm:constr type="h" for="ch" forName="cycle" refType="h"/>
                <dgm:constr type="w" for="ch" forName="cycle" refType="h" refFor="ch" refForName="cycle" fact="0.26"/>
                <dgm:constr type="l" for="ch" forName="cycle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h" fact="0.0835"/>
                <dgm:constr type="l" for="ch" forName="text_1" refType="ctrX" refFor="ch" refForName="accent_1"/>
                <dgm:constr type="r" for="ch" forName="text_1" refType="w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l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h" fact="0.1658"/>
                <dgm:constr type="l" for="ch" forName="text_2" refType="ctrX" refFor="ch" refForName="accent_2"/>
                <dgm:constr type="r" for="ch" forName="text_2" refType="w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l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h" fact="0.2109"/>
                <dgm:constr type="l" for="ch" forName="text_3" refType="ctrX" refFor="ch" refForName="accent_3"/>
                <dgm:constr type="r" for="ch" forName="text_3" refType="w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l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h" fact="0.2253"/>
                <dgm:constr type="l" for="ch" forName="text_4" refType="ctrX" refFor="ch" refForName="accent_4"/>
                <dgm:constr type="r" for="ch" forName="text_4" refType="w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l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h" fact="0.2109"/>
                <dgm:constr type="l" for="ch" forName="text_5" refType="ctrX" refFor="ch" refForName="accent_5"/>
                <dgm:constr type="r" for="ch" forName="text_5" refType="w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l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h" fact="0.1658"/>
                <dgm:constr type="l" for="ch" forName="text_6" refType="ctrX" refFor="ch" refForName="accent_6"/>
                <dgm:constr type="r" for="ch" forName="text_6" refType="w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l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h" fact="0.0835"/>
                <dgm:constr type="l" for="ch" forName="text_7" refType="ctrX" refFor="ch" refForName="accent_7"/>
                <dgm:constr type="r" for="ch" forName="text_7" refType="w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lMarg" for="ch" forName="text_7" refType="w" refFor="ch" refForName="accent_7" fact="1.8"/>
                <dgm:constr type="primFontSz" for="ch" ptType="node" op="equ" val="65"/>
              </dgm:constrLst>
            </dgm:else>
          </dgm:choose>
        </dgm:if>
        <dgm:else name="Name12">
          <dgm:choose name="Name13">
            <dgm:if name="Name14" axis="ch" ptType="node" func="cnt" op="equ" val="1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625"/>
                <dgm:constr type="w" for="ch" forName="accent_1" refType="h" refFor="ch" refForName="accent_1" op="equ"/>
                <dgm:constr type="ctrY" for="ch" forName="accent_1" refType="h" fact="0.5"/>
                <dgm:constr type="ctrX" for="ch" forName="accent_1" refType="w"/>
                <dgm:constr type="ctrXOff" for="ch" forName="accent_1" refType="h" fact="-0.225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primFontSz" for="ch" ptType="node" op="equ" val="65"/>
              </dgm:constrLst>
            </dgm:if>
            <dgm:if name="Name15" axis="ch" ptType="node" func="cnt" op="equ" val="2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3571"/>
                <dgm:constr type="w" for="ch" forName="accent_1" refType="h" refFor="ch" refForName="accent_1" op="equ"/>
                <dgm:constr type="ctrY" for="ch" forName="accent_1" refType="h" fact="0.2857"/>
                <dgm:constr type="ctrX" for="ch" forName="accent_1" refType="w"/>
                <dgm:constr type="ctrXOff" for="ch" forName="accent_1" refType="h" fact="-0.1891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3571"/>
                <dgm:constr type="w" for="ch" forName="accent_2" refType="h" refFor="ch" refForName="accent_2" op="equ"/>
                <dgm:constr type="ctrY" for="ch" forName="accent_2" refType="h" fact="0.7143"/>
                <dgm:constr type="ctrX" for="ch" forName="accent_2" refType="w"/>
                <dgm:constr type="ctrXOff" for="ch" forName="accent_2" refType="h" fact="-0.1891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primFontSz" for="ch" ptType="node" op="equ" val="65"/>
              </dgm:constrLst>
            </dgm:if>
            <dgm:if name="Name16" axis="ch" ptType="node" func="cnt" op="equ" val="3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25"/>
                <dgm:constr type="w" for="ch" forName="accent_1" refType="h" refFor="ch" refForName="accent_1" op="equ"/>
                <dgm:constr type="ctrY" for="ch" forName="accent_1" refType="h" fact="0.2"/>
                <dgm:constr type="ctrX" for="ch" forName="accent_1" refType="w"/>
                <dgm:constr type="ctrXOff" for="ch" forName="accent_1" refType="h" fact="-0.1526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25"/>
                <dgm:constr type="w" for="ch" forName="accent_2" refType="h" refFor="ch" refForName="accent_2" op="equ"/>
                <dgm:constr type="ctrY" for="ch" forName="accent_2" refType="h" fact="0.5"/>
                <dgm:constr type="ctrX" for="ch" forName="accent_2" refType="w"/>
                <dgm:constr type="ctrXOff" for="ch" forName="accent_2" refType="h" fact="-0.2253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25"/>
                <dgm:constr type="w" for="ch" forName="accent_3" refType="h" refFor="ch" refForName="accent_3" op="equ"/>
                <dgm:constr type="ctrY" for="ch" forName="accent_3" refType="h" fact="0.8"/>
                <dgm:constr type="ctrX" for="ch" forName="accent_3" refType="w"/>
                <dgm:constr type="ctrXOff" for="ch" forName="accent_3" refType="h" fact="-0.1526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primFontSz" for="ch" ptType="node" op="equ" val="65"/>
              </dgm:constrLst>
            </dgm:if>
            <dgm:if name="Name17" axis="ch" ptType="node" func="cnt" op="equ" val="4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923"/>
                <dgm:constr type="w" for="ch" forName="accent_1" refType="h" refFor="ch" refForName="accent_1" op="equ"/>
                <dgm:constr type="ctrY" for="ch" forName="accent_1" refType="h" fact="0.1538"/>
                <dgm:constr type="ctrX" for="ch" forName="accent_1" refType="w"/>
                <dgm:constr type="ctrXOff" for="ch" forName="accent_1" refType="h" fact="-0.1268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923"/>
                <dgm:constr type="w" for="ch" forName="accent_2" refType="h" refFor="ch" refForName="accent_2" op="equ"/>
                <dgm:constr type="ctrY" for="ch" forName="accent_2" refType="h" fact="0.3846"/>
                <dgm:constr type="ctrX" for="ch" forName="accent_2" refType="w"/>
                <dgm:constr type="ctrXOff" for="ch" forName="accent_2" refType="h" fact="-0.215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923"/>
                <dgm:constr type="w" for="ch" forName="accent_3" refType="h" refFor="ch" refForName="accent_3" op="equ"/>
                <dgm:constr type="ctrY" for="ch" forName="accent_3" refType="h" fact="0.6154"/>
                <dgm:constr type="ctrX" for="ch" forName="accent_3" refType="w"/>
                <dgm:constr type="ctrXOff" for="ch" forName="accent_3" refType="h" fact="-0.21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923"/>
                <dgm:constr type="w" for="ch" forName="accent_4" refType="h" refFor="ch" refForName="accent_4" op="equ"/>
                <dgm:constr type="ctrY" for="ch" forName="accent_4" refType="h" fact="0.8462"/>
                <dgm:constr type="ctrX" for="ch" forName="accent_4" refType="w"/>
                <dgm:constr type="ctrXOff" for="ch" forName="accent_4" refType="h" fact="-0.126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primFontSz" for="ch" ptType="node" op="equ" val="65"/>
              </dgm:constrLst>
            </dgm:if>
            <dgm:if name="Name18" axis="ch" ptType="node" func="cnt" op="equ" val="5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563"/>
                <dgm:constr type="w" for="ch" forName="accent_1" refType="h" refFor="ch" refForName="accent_1" op="equ"/>
                <dgm:constr type="ctrY" for="ch" forName="accent_1" refType="h" fact="0.125"/>
                <dgm:constr type="ctrX" for="ch" forName="accent_1" refType="w"/>
                <dgm:constr type="ctrXOff" for="ch" forName="accent_1" refType="h" fact="-0.1082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563"/>
                <dgm:constr type="w" for="ch" forName="accent_2" refType="h" refFor="ch" refForName="accent_2" op="equ"/>
                <dgm:constr type="ctrY" for="ch" forName="accent_2" refType="h" fact="0.3125"/>
                <dgm:constr type="ctrX" for="ch" forName="accent_2" refType="w"/>
                <dgm:constr type="ctrXOff" for="ch" forName="accent_2" refType="h" fact="-0.197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563"/>
                <dgm:constr type="w" for="ch" forName="accent_3" refType="h" refFor="ch" refForName="accent_3" op="equ"/>
                <dgm:constr type="ctrY" for="ch" forName="accent_3" refType="h" fact="0.5"/>
                <dgm:constr type="ctrX" for="ch" forName="accent_3" refType="w"/>
                <dgm:constr type="ctrXOff" for="ch" forName="accent_3" refType="h" fact="-0.2253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563"/>
                <dgm:constr type="w" for="ch" forName="accent_4" refType="h" refFor="ch" refForName="accent_4" op="equ"/>
                <dgm:constr type="ctrY" for="ch" forName="accent_4" refType="h" fact="0.6875"/>
                <dgm:constr type="ctrX" for="ch" forName="accent_4" refType="w"/>
                <dgm:constr type="ctrXOff" for="ch" forName="accent_4" refType="h" fact="-0.1978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563"/>
                <dgm:constr type="w" for="ch" forName="accent_5" refType="h" refFor="ch" refForName="accent_5" op="equ"/>
                <dgm:constr type="ctrY" for="ch" forName="accent_5" refType="h" fact="0.875"/>
                <dgm:constr type="ctrX" for="ch" forName="accent_5" refType="w"/>
                <dgm:constr type="ctrXOff" for="ch" forName="accent_5" refType="h" fact="-0.1082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primFontSz" for="ch" ptType="node" op="equ" val="65"/>
              </dgm:constrLst>
            </dgm:if>
            <dgm:if name="Name19" axis="ch" ptType="node" func="cnt" op="equ" val="6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316"/>
                <dgm:constr type="w" for="ch" forName="accent_1" refType="h" refFor="ch" refForName="accent_1" op="equ"/>
                <dgm:constr type="ctrY" for="ch" forName="accent_1" refType="h" fact="0.1053"/>
                <dgm:constr type="ctrX" for="ch" forName="accent_1" refType="w"/>
                <dgm:constr type="ctrXOff" for="ch" forName="accent_1" refType="h" fact="-0.0943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316"/>
                <dgm:constr type="w" for="ch" forName="accent_2" refType="h" refFor="ch" refForName="accent_2" op="equ"/>
                <dgm:constr type="ctrY" for="ch" forName="accent_2" refType="h" fact="0.2632"/>
                <dgm:constr type="ctrX" for="ch" forName="accent_2" refType="w"/>
                <dgm:constr type="ctrXOff" for="ch" forName="accent_2" refType="h" fact="-0.1809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316"/>
                <dgm:constr type="w" for="ch" forName="accent_3" refType="h" refFor="ch" refForName="accent_3" op="equ"/>
                <dgm:constr type="ctrY" for="ch" forName="accent_3" refType="h" fact="0.4211"/>
                <dgm:constr type="ctrX" for="ch" forName="accent_3" refType="w"/>
                <dgm:constr type="ctrXOff" for="ch" forName="accent_3" refType="h" fact="-0.2205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316"/>
                <dgm:constr type="w" for="ch" forName="accent_4" refType="h" refFor="ch" refForName="accent_4" op="equ"/>
                <dgm:constr type="ctrY" for="ch" forName="accent_4" refType="h" fact="0.5789"/>
                <dgm:constr type="ctrX" for="ch" forName="accent_4" refType="w"/>
                <dgm:constr type="ctrXOff" for="ch" forName="accent_4" refType="h" fact="-0.2205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316"/>
                <dgm:constr type="w" for="ch" forName="accent_5" refType="h" refFor="ch" refForName="accent_5" op="equ"/>
                <dgm:constr type="ctrY" for="ch" forName="accent_5" refType="h" fact="0.7368"/>
                <dgm:constr type="ctrX" for="ch" forName="accent_5" refType="w"/>
                <dgm:constr type="ctrXOff" for="ch" forName="accent_5" refType="h" fact="-0.18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316"/>
                <dgm:constr type="w" for="ch" forName="accent_6" refType="h" refFor="ch" refForName="accent_6" op="equ"/>
                <dgm:constr type="ctrY" for="ch" forName="accent_6" refType="h" fact="0.8947"/>
                <dgm:constr type="ctrX" for="ch" forName="accent_6" refType="w"/>
                <dgm:constr type="ctrXOff" for="ch" forName="accent_6" refType="h" fact="-0.0943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primFontSz" for="ch" ptType="node" op="equ" val="65"/>
              </dgm:constrLst>
            </dgm:if>
            <dgm:else name="Name20">
              <dgm:constrLst>
                <dgm:constr type="h" for="ch" forName="cycle" refType="h"/>
                <dgm:constr type="w" for="ch" forName="cycle" refType="h" refFor="ch" refForName="cycle" fact="0.26"/>
                <dgm:constr type="r" for="ch" forName="cycle" refType="w"/>
                <dgm:constr type="ctrY" for="ch" forName="cycle" refType="h" fact="0.5"/>
                <dgm:constr type="diam" for="ch" forName="cycle" refType="h" fact="1.344"/>
                <dgm:constr type="h" for="ch" forName="accent_1" refType="h" fact="0.1136"/>
                <dgm:constr type="w" for="ch" forName="accent_1" refType="h" refFor="ch" refForName="accent_1" op="equ"/>
                <dgm:constr type="ctrY" for="ch" forName="accent_1" refType="h" fact="0.0909"/>
                <dgm:constr type="ctrX" for="ch" forName="accent_1" refType="w"/>
                <dgm:constr type="ctrXOff" for="ch" forName="accent_1" refType="h" fact="-0.0835"/>
                <dgm:constr type="r" for="ch" forName="text_1" refType="ctrX" refFor="ch" refForName="accent_1"/>
                <dgm:constr type="rOff" for="ch" forName="text_1" refType="ctrXOff" refFor="ch" refForName="accent_1"/>
                <dgm:constr type="l" for="ch" forName="text_1"/>
                <dgm:constr type="w" for="ch" forName="text_1" refType="h" refFor="ch" refForName="text_1" op="gte"/>
                <dgm:constr type="h" for="ch" forName="text_1" refType="h" refFor="ch" refForName="accent_1" fact="0.8"/>
                <dgm:constr type="ctrY" for="ch" forName="text_1" refType="ctrY" refFor="ch" refForName="accent_1"/>
                <dgm:constr type="rMarg" for="ch" forName="text_1" refType="w" refFor="ch" refForName="accent_1" fact="1.8"/>
                <dgm:constr type="h" for="ch" forName="accent_2" refType="h" fact="0.1136"/>
                <dgm:constr type="w" for="ch" forName="accent_2" refType="h" refFor="ch" refForName="accent_2" op="equ"/>
                <dgm:constr type="ctrY" for="ch" forName="accent_2" refType="h" fact="0.2273"/>
                <dgm:constr type="ctrX" for="ch" forName="accent_2" refType="w"/>
                <dgm:constr type="ctrXOff" for="ch" forName="accent_2" refType="h" fact="-0.1658"/>
                <dgm:constr type="r" for="ch" forName="text_2" refType="ctrX" refFor="ch" refForName="accent_2"/>
                <dgm:constr type="rOff" for="ch" forName="text_2" refType="ctrXOff" refFor="ch" refForName="accent_2"/>
                <dgm:constr type="l" for="ch" forName="text_2"/>
                <dgm:constr type="w" for="ch" forName="text_2" refType="h" refFor="ch" refForName="text_2" op="gte"/>
                <dgm:constr type="h" for="ch" forName="text_2" refType="h" refFor="ch" refForName="accent_2" fact="0.8"/>
                <dgm:constr type="ctrY" for="ch" forName="text_2" refType="ctrY" refFor="ch" refForName="accent_2"/>
                <dgm:constr type="rMarg" for="ch" forName="text_2" refType="w" refFor="ch" refForName="accent_2" fact="1.8"/>
                <dgm:constr type="h" for="ch" forName="accent_3" refType="h" fact="0.1136"/>
                <dgm:constr type="w" for="ch" forName="accent_3" refType="h" refFor="ch" refForName="accent_3" op="equ"/>
                <dgm:constr type="ctrY" for="ch" forName="accent_3" refType="h" fact="0.3636"/>
                <dgm:constr type="ctrX" for="ch" forName="accent_3" refType="w"/>
                <dgm:constr type="ctrXOff" for="ch" forName="accent_3" refType="h" fact="-0.2109"/>
                <dgm:constr type="r" for="ch" forName="text_3" refType="ctrX" refFor="ch" refForName="accent_3"/>
                <dgm:constr type="rOff" for="ch" forName="text_3" refType="ctrXOff" refFor="ch" refForName="accent_3"/>
                <dgm:constr type="l" for="ch" forName="text_3"/>
                <dgm:constr type="w" for="ch" forName="text_3" refType="h" refFor="ch" refForName="text_3" op="gte"/>
                <dgm:constr type="h" for="ch" forName="text_3" refType="h" refFor="ch" refForName="accent_3" fact="0.8"/>
                <dgm:constr type="ctrY" for="ch" forName="text_3" refType="ctrY" refFor="ch" refForName="accent_3"/>
                <dgm:constr type="rMarg" for="ch" forName="text_3" refType="w" refFor="ch" refForName="accent_3" fact="1.8"/>
                <dgm:constr type="h" for="ch" forName="accent_4" refType="h" fact="0.1136"/>
                <dgm:constr type="w" for="ch" forName="accent_4" refType="h" refFor="ch" refForName="accent_4" op="equ"/>
                <dgm:constr type="ctrY" for="ch" forName="accent_4" refType="h" fact="0.5"/>
                <dgm:constr type="ctrX" for="ch" forName="accent_4" refType="w"/>
                <dgm:constr type="ctrXOff" for="ch" forName="accent_4" refType="h" fact="-0.2253"/>
                <dgm:constr type="r" for="ch" forName="text_4" refType="ctrX" refFor="ch" refForName="accent_4"/>
                <dgm:constr type="rOff" for="ch" forName="text_4" refType="ctrXOff" refFor="ch" refForName="accent_4"/>
                <dgm:constr type="l" for="ch" forName="text_4"/>
                <dgm:constr type="w" for="ch" forName="text_4" refType="h" refFor="ch" refForName="text_4" op="gte"/>
                <dgm:constr type="h" for="ch" forName="text_4" refType="h" refFor="ch" refForName="accent_4" fact="0.8"/>
                <dgm:constr type="ctrY" for="ch" forName="text_4" refType="ctrY" refFor="ch" refForName="accent_4"/>
                <dgm:constr type="rMarg" for="ch" forName="text_4" refType="w" refFor="ch" refForName="accent_4" fact="1.8"/>
                <dgm:constr type="h" for="ch" forName="accent_5" refType="h" fact="0.1136"/>
                <dgm:constr type="w" for="ch" forName="accent_5" refType="h" refFor="ch" refForName="accent_5" op="equ"/>
                <dgm:constr type="ctrY" for="ch" forName="accent_5" refType="h" fact="0.6364"/>
                <dgm:constr type="ctrX" for="ch" forName="accent_5" refType="w"/>
                <dgm:constr type="ctrXOff" for="ch" forName="accent_5" refType="h" fact="-0.2109"/>
                <dgm:constr type="r" for="ch" forName="text_5" refType="ctrX" refFor="ch" refForName="accent_5"/>
                <dgm:constr type="rOff" for="ch" forName="text_5" refType="ctrXOff" refFor="ch" refForName="accent_5"/>
                <dgm:constr type="l" for="ch" forName="text_5"/>
                <dgm:constr type="w" for="ch" forName="text_5" refType="h" refFor="ch" refForName="text_5" op="gte"/>
                <dgm:constr type="h" for="ch" forName="text_5" refType="h" refFor="ch" refForName="accent_5" fact="0.8"/>
                <dgm:constr type="ctrY" for="ch" forName="text_5" refType="ctrY" refFor="ch" refForName="accent_5"/>
                <dgm:constr type="rMarg" for="ch" forName="text_5" refType="w" refFor="ch" refForName="accent_5" fact="1.8"/>
                <dgm:constr type="h" for="ch" forName="accent_6" refType="h" fact="0.1136"/>
                <dgm:constr type="w" for="ch" forName="accent_6" refType="h" refFor="ch" refForName="accent_6" op="equ"/>
                <dgm:constr type="ctrY" for="ch" forName="accent_6" refType="h" fact="0.7727"/>
                <dgm:constr type="ctrX" for="ch" forName="accent_6" refType="w"/>
                <dgm:constr type="ctrXOff" for="ch" forName="accent_6" refType="h" fact="-0.1658"/>
                <dgm:constr type="r" for="ch" forName="text_6" refType="ctrX" refFor="ch" refForName="accent_6"/>
                <dgm:constr type="rOff" for="ch" forName="text_6" refType="ctrXOff" refFor="ch" refForName="accent_6"/>
                <dgm:constr type="l" for="ch" forName="text_6"/>
                <dgm:constr type="w" for="ch" forName="text_6" refType="h" refFor="ch" refForName="text_6" op="gte"/>
                <dgm:constr type="h" for="ch" forName="text_6" refType="h" refFor="ch" refForName="accent_6" fact="0.8"/>
                <dgm:constr type="ctrY" for="ch" forName="text_6" refType="ctrY" refFor="ch" refForName="accent_6"/>
                <dgm:constr type="rMarg" for="ch" forName="text_6" refType="w" refFor="ch" refForName="accent_6" fact="1.8"/>
                <dgm:constr type="h" for="ch" forName="accent_7" refType="h" fact="0.1136"/>
                <dgm:constr type="w" for="ch" forName="accent_7" refType="h" refFor="ch" refForName="accent_7" op="equ"/>
                <dgm:constr type="ctrY" for="ch" forName="accent_7" refType="h" fact="0.9091"/>
                <dgm:constr type="ctrX" for="ch" forName="accent_7" refType="w"/>
                <dgm:constr type="ctrXOff" for="ch" forName="accent_7" refType="h" fact="-0.0835"/>
                <dgm:constr type="r" for="ch" forName="text_7" refType="ctrX" refFor="ch" refForName="accent_7"/>
                <dgm:constr type="rOff" for="ch" forName="text_7" refType="ctrXOff" refFor="ch" refForName="accent_7"/>
                <dgm:constr type="l" for="ch" forName="text_7"/>
                <dgm:constr type="w" for="ch" forName="text_7" refType="h" refFor="ch" refForName="text_7" op="gte"/>
                <dgm:constr type="h" for="ch" forName="text_7" refType="h" refFor="ch" refForName="accent_7" fact="0.8"/>
                <dgm:constr type="ctrY" for="ch" forName="text_7" refType="ctrY" refFor="ch" refForName="accent_7"/>
                <dgm:constr type="rMarg" for="ch" forName="text_7" refType="w" refFor="ch" refForName="accent_7" fact="1.8"/>
                <dgm:constr type="primFontSz" for="ch" ptType="node" op="equ" val="65"/>
              </dgm:constrLst>
            </dgm:else>
          </dgm:choose>
        </dgm:else>
      </dgm:choose>
      <dgm:layoutNode name="cycle">
        <dgm:choose name="Name21">
          <dgm:if name="Name22" func="var" arg="dir" op="equ" val="norm">
            <dgm:alg type="cycle">
              <dgm:param type="stAng" val="45"/>
              <dgm:param type="spanAng" val="90"/>
            </dgm:alg>
          </dgm:if>
          <dgm:else name="Name23">
            <dgm:alg type="cycle">
              <dgm:param type="stAng" val="225"/>
              <dgm:param type="spanAng" val="90"/>
            </dgm:alg>
          </dgm:else>
        </dgm:choose>
        <dgm:shape xmlns:r="http://schemas.openxmlformats.org/officeDocument/2006/relationships" r:blip="">
          <dgm:adjLst/>
        </dgm:shape>
        <dgm:presOf/>
        <dgm:constrLst>
          <dgm:constr type="w" for="ch" val="1"/>
          <dgm:constr type="h" for="ch" val="1"/>
          <dgm:constr type="diam" for="ch" forName="conn" refType="diam"/>
        </dgm:constrLst>
        <dgm:layoutNode name="src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conn" styleLbl="parChTrans1D2">
          <dgm:alg type="conn">
            <dgm:param type="connRout" val="curve"/>
            <dgm:param type="srcNode" val="srcNode"/>
            <dgm:param type="dstNode" val="dstNode"/>
            <dgm:param type="begPts" val="ctr"/>
            <dgm:param type="endPts" val="ctr"/>
            <dgm:param type="endSty" val="noArr"/>
          </dgm:alg>
          <dgm:shape xmlns:r="http://schemas.openxmlformats.org/officeDocument/2006/relationships" type="conn" r:blip="">
            <dgm:adjLst/>
          </dgm:shape>
          <dgm:presOf axis="desOrSelf" ptType="sibTrans" hideLastTrans="0" st="0" cnt="1"/>
          <dgm:constrLst>
            <dgm:constr type="begPad"/>
            <dgm:constr type="endPad"/>
          </dgm:constrLst>
        </dgm:layoutNode>
        <dgm:layoutNode name="extraNode">
          <dgm:alg type="sp"/>
          <dgm:shape xmlns:r="http://schemas.openxmlformats.org/officeDocument/2006/relationships" type="rect" r:blip="" hideGeom="1">
            <dgm:adjLst/>
          </dgm:shape>
          <dgm:presOf/>
        </dgm:layoutNode>
        <dgm:layoutNode name="dstNode">
          <dgm:alg type="sp"/>
          <dgm:shape xmlns:r="http://schemas.openxmlformats.org/officeDocument/2006/relationships" type="rect" r:blip="" hideGeom="1">
            <dgm:adjLst/>
          </dgm:shape>
          <dgm:presOf/>
        </dgm:layoutNode>
      </dgm:layoutNode>
      <dgm:forEach name="wrapper" axis="self" ptType="parTrans">
        <dgm:forEach name="wrapper2" axis="self" ptType="sibTrans" st="2">
          <dgm:forEach name="accentRepeat" axis="self">
            <dgm:layoutNode name="accentRepeatNode" styleLbl="solidFgAcc1">
              <dgm:alg type="sp"/>
              <dgm:shape xmlns:r="http://schemas.openxmlformats.org/officeDocument/2006/relationships" type="ellipse" r:blip="">
                <dgm:adjLst/>
              </dgm:shape>
              <dgm:presOf/>
            </dgm:layoutNode>
          </dgm:forEach>
        </dgm:forEach>
      </dgm:forEach>
      <dgm:forEach name="Name24" axis="ch" ptType="node" cnt="1">
        <dgm:layoutNode name="text_1" styleLbl="node1">
          <dgm:varLst>
            <dgm:bulletEnabled val="1"/>
          </dgm:varLst>
          <dgm:choose name="Name25">
            <dgm:if name="Name2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2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1">
          <dgm:alg type="sp"/>
          <dgm:shape xmlns:r="http://schemas.openxmlformats.org/officeDocument/2006/relationships" r:blip="">
            <dgm:adjLst/>
          </dgm:shape>
          <dgm:presOf/>
          <dgm:constrLst/>
          <dgm:forEach name="Name28" ref="accentRepeat"/>
        </dgm:layoutNode>
      </dgm:forEach>
      <dgm:forEach name="Name29" axis="ch" ptType="node" st="2" cnt="1">
        <dgm:layoutNode name="text_2" styleLbl="node1">
          <dgm:varLst>
            <dgm:bulletEnabled val="1"/>
          </dgm:varLst>
          <dgm:choose name="Name30">
            <dgm:if name="Name3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2">
          <dgm:alg type="sp"/>
          <dgm:shape xmlns:r="http://schemas.openxmlformats.org/officeDocument/2006/relationships" r:blip="">
            <dgm:adjLst/>
          </dgm:shape>
          <dgm:presOf/>
          <dgm:constrLst/>
          <dgm:forEach name="Name33" ref="accentRepeat"/>
        </dgm:layoutNode>
      </dgm:forEach>
      <dgm:forEach name="Name34" axis="ch" ptType="node" st="3" cnt="1">
        <dgm:layoutNode name="text_3" styleLbl="node1">
          <dgm:varLst>
            <dgm:bulletEnabled val="1"/>
          </dgm:varLst>
          <dgm:choose name="Name35">
            <dgm:if name="Name3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3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3">
          <dgm:alg type="sp"/>
          <dgm:shape xmlns:r="http://schemas.openxmlformats.org/officeDocument/2006/relationships" r:blip="">
            <dgm:adjLst/>
          </dgm:shape>
          <dgm:presOf/>
          <dgm:constrLst/>
          <dgm:forEach name="Name38" ref="accentRepeat"/>
        </dgm:layoutNode>
      </dgm:forEach>
      <dgm:forEach name="Name39" axis="ch" ptType="node" st="4" cnt="1">
        <dgm:layoutNode name="text_4" styleLbl="node1">
          <dgm:varLst>
            <dgm:bulletEnabled val="1"/>
          </dgm:varLst>
          <dgm:choose name="Name40">
            <dgm:if name="Name4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4">
          <dgm:alg type="sp"/>
          <dgm:shape xmlns:r="http://schemas.openxmlformats.org/officeDocument/2006/relationships" r:blip="">
            <dgm:adjLst/>
          </dgm:shape>
          <dgm:presOf/>
          <dgm:constrLst/>
          <dgm:forEach name="Name43" ref="accentRepeat"/>
        </dgm:layoutNode>
      </dgm:forEach>
      <dgm:forEach name="Name44" axis="ch" ptType="node" st="5" cnt="1">
        <dgm:layoutNode name="text_5" styleLbl="node1">
          <dgm:varLst>
            <dgm:bulletEnabled val="1"/>
          </dgm:varLst>
          <dgm:choose name="Name45">
            <dgm:if name="Name4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4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5">
          <dgm:alg type="sp"/>
          <dgm:shape xmlns:r="http://schemas.openxmlformats.org/officeDocument/2006/relationships" r:blip="">
            <dgm:adjLst/>
          </dgm:shape>
          <dgm:presOf/>
          <dgm:constrLst/>
          <dgm:forEach name="Name48" ref="accentRepeat"/>
        </dgm:layoutNode>
      </dgm:forEach>
      <dgm:forEach name="Name49" axis="ch" ptType="node" st="6" cnt="1">
        <dgm:layoutNode name="text_6" styleLbl="node1">
          <dgm:varLst>
            <dgm:bulletEnabled val="1"/>
          </dgm:varLst>
          <dgm:choose name="Name50">
            <dgm:if name="Name51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2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6">
          <dgm:alg type="sp"/>
          <dgm:shape xmlns:r="http://schemas.openxmlformats.org/officeDocument/2006/relationships" r:blip="">
            <dgm:adjLst/>
          </dgm:shape>
          <dgm:presOf/>
          <dgm:constrLst/>
          <dgm:forEach name="Name53" ref="accentRepeat"/>
        </dgm:layoutNode>
      </dgm:forEach>
      <dgm:forEach name="Name54" axis="ch" ptType="node" st="7" cnt="1">
        <dgm:layoutNode name="text_7" styleLbl="node1">
          <dgm:varLst>
            <dgm:bulletEnabled val="1"/>
          </dgm:varLst>
          <dgm:choose name="Name55">
            <dgm:if name="Name56" func="var" arg="dir" op="equ" val="norm">
              <dgm:alg type="tx">
                <dgm:param type="parTxLTRAlign" val="l"/>
                <dgm:param type="shpTxLTRAlignCh" val="l"/>
                <dgm:param type="parTxRTLAlign" val="l"/>
                <dgm:param type="shpTxRTLAlignCh" val="l"/>
              </dgm:alg>
            </dgm:if>
            <dgm:else name="Name57">
              <dgm:alg type="tx">
                <dgm:param type="parTxLTRAlign" val="r"/>
                <dgm:param type="shpTxLTRAlignCh" val="r"/>
                <dgm:param type="parTxRTLAlign" val="r"/>
                <dgm:param type="shpTxRTLAlignCh" val="r"/>
              </dgm:alg>
            </dgm:else>
          </dgm:choose>
          <dgm:shape xmlns:r="http://schemas.openxmlformats.org/officeDocument/2006/relationships" type="rect" r:blip="">
            <dgm:adjLst/>
          </dgm:shape>
          <dgm:presOf axis="desOrSelf" ptType="node"/>
          <dgm:constrLst>
            <dgm:constr type="primFontSz" val="65"/>
            <dgm:constr type="lMarg" refType="primFontSz" fact="0.2"/>
            <dgm:constr type="rMarg" refType="primFontSz" fact="0.2"/>
            <dgm:constr type="tMarg" refType="primFontSz" fact="0.2"/>
            <dgm:constr type="bMarg" refType="primFontSz" fact="0.2"/>
          </dgm:constrLst>
          <dgm:ruleLst>
            <dgm:rule type="primFontSz" val="5" fact="NaN" max="NaN"/>
          </dgm:ruleLst>
        </dgm:layoutNode>
        <dgm:layoutNode name="accent_7">
          <dgm:alg type="sp"/>
          <dgm:shape xmlns:r="http://schemas.openxmlformats.org/officeDocument/2006/relationships" r:blip="">
            <dgm:adjLst/>
          </dgm:shape>
          <dgm:presOf/>
          <dgm:constrLst/>
          <dgm:forEach name="Name58" ref="accentRepeat"/>
        </dgm:layoutNode>
      </dgm:forEach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7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4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0CC824B-B566-4F9E-8E0B-192AC83AB3F4}" type="datetimeFigureOut">
              <a:rPr lang="en-GB" smtClean="0"/>
              <a:t>04/12/2018</a:t>
            </a:fld>
            <a:endParaRPr lang="en-GB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A736DA5-BA0A-4CEF-99A9-08EBC7154664}" type="slidenum">
              <a:rPr lang="en-GB" smtClean="0"/>
              <a:t>‹N°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172691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altLang="en-US" dirty="0" smtClean="0"/>
              <a:t>Click to edit Master text styles</a:t>
            </a:r>
          </a:p>
          <a:p>
            <a:pPr lvl="1"/>
            <a:r>
              <a:rPr lang="en-GB" altLang="en-US" dirty="0" smtClean="0"/>
              <a:t>Second level</a:t>
            </a:r>
          </a:p>
          <a:p>
            <a:pPr lvl="2"/>
            <a:r>
              <a:rPr lang="en-GB" altLang="en-US" dirty="0" smtClean="0"/>
              <a:t>Third level</a:t>
            </a:r>
          </a:p>
          <a:p>
            <a:pPr lvl="3"/>
            <a:r>
              <a:rPr lang="en-GB" altLang="en-US" dirty="0" smtClean="0"/>
              <a:t>Fourth level</a:t>
            </a:r>
          </a:p>
          <a:p>
            <a:pPr lvl="4"/>
            <a:r>
              <a:rPr lang="en-GB" altLang="en-US" dirty="0" smtClean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5670583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indent="0" algn="l" defTabSz="712788" rtl="0" fontAlgn="base">
      <a:spcBef>
        <a:spcPct val="30000"/>
      </a:spcBef>
      <a:spcAft>
        <a:spcPct val="0"/>
      </a:spcAft>
      <a:buFont typeface="Wingdings" panose="05000000000000000000" pitchFamily="2" charset="2"/>
      <a:buNone/>
      <a:defRPr sz="900" kern="1200">
        <a:solidFill>
          <a:schemeClr val="tx1"/>
        </a:solidFill>
        <a:latin typeface="Helvetica 75 Bold" panose="020B0804020202020204" pitchFamily="34" charset="0"/>
        <a:ea typeface="ＭＳ Ｐゴシック" pitchFamily="34" charset="-128"/>
        <a:cs typeface="+mn-cs"/>
      </a:defRPr>
    </a:lvl1pPr>
    <a:lvl2pPr marL="115888" indent="-115888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2pPr>
    <a:lvl3pPr marL="228600" indent="-112713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3pPr>
    <a:lvl4pPr marL="342900" indent="-114300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4pPr>
    <a:lvl5pPr marL="458788" indent="-115888" algn="l" defTabSz="712788" rtl="0" fontAlgn="base">
      <a:spcBef>
        <a:spcPct val="30000"/>
      </a:spcBef>
      <a:spcAft>
        <a:spcPct val="0"/>
      </a:spcAft>
      <a:buFont typeface="Helvetica 75" panose="020B0804020202020204" pitchFamily="34" charset="0"/>
      <a:buChar char="−"/>
      <a:defRPr sz="900" kern="1200">
        <a:solidFill>
          <a:schemeClr val="tx1"/>
        </a:solidFill>
        <a:latin typeface="Helvetica 55 Roman" panose="020B0604020202020204" pitchFamily="34" charset="0"/>
        <a:ea typeface="ＭＳ Ｐゴシック" pitchFamily="34" charset="-128"/>
        <a:cs typeface="+mn-cs"/>
      </a:defRPr>
    </a:lvl5pPr>
    <a:lvl6pPr marL="1783080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6pPr>
    <a:lvl7pPr marL="2139696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7pPr>
    <a:lvl8pPr marL="2496312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8pPr>
    <a:lvl9pPr marL="2852928" algn="l" defTabSz="713232" rtl="0" eaLnBrk="1" latinLnBrk="0" hangingPunct="1">
      <a:defRPr sz="936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" name="Google Shape;47;p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  <p:sp>
        <p:nvSpPr>
          <p:cNvPr id="48" name="Google Shape;48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</p:spTree>
    <p:extLst>
      <p:ext uri="{BB962C8B-B14F-4D97-AF65-F5344CB8AC3E}">
        <p14:creationId xmlns:p14="http://schemas.microsoft.com/office/powerpoint/2010/main" val="80688336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smtClean="0"/>
              <a:t>*estimation</a:t>
            </a:r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1ABD226D-85D4-4B4A-BE1C-834D65932E86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4659939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fr-FR" dirty="0" smtClean="0"/>
              <a:t>Prenons</a:t>
            </a:r>
            <a:r>
              <a:rPr lang="fr-FR" baseline="0" dirty="0" smtClean="0"/>
              <a:t> le cas du secteur des </a:t>
            </a:r>
            <a:r>
              <a:rPr lang="fr-FR" baseline="0" dirty="0" err="1" smtClean="0"/>
              <a:t>telco</a:t>
            </a:r>
            <a:r>
              <a:rPr lang="fr-FR" baseline="0" dirty="0" smtClean="0"/>
              <a:t> d’un opérateur de communication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037742271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1ABD226D-85D4-4B4A-BE1C-834D65932E86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161837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1ABD226D-85D4-4B4A-BE1C-834D65932E86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7875811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2" name="Google Shape;72;g441d80ea66_2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73" name="Google Shape;73;g441d80ea66_2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24828889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0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/>
          <a:lstStyle/>
          <a:p>
            <a:fld id="{1ABD226D-85D4-4B4A-BE1C-834D65932E86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89279708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342900" indent="-342900">
              <a:buFont typeface="Wingdings" panose="05000000000000000000" pitchFamily="2" charset="2"/>
              <a:buChar char="è"/>
            </a:pP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73902820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image des diapositives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Espace réservé des commentaires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413633044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ctrTitle"/>
          </p:nvPr>
        </p:nvSpPr>
        <p:spPr>
          <a:xfrm>
            <a:off x="685800" y="1597820"/>
            <a:ext cx="7772400" cy="1102519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Sous-titre 2"/>
          <p:cNvSpPr>
            <a:spLocks noGrp="1"/>
          </p:cNvSpPr>
          <p:nvPr>
            <p:ph type="subTitle" idx="1"/>
          </p:nvPr>
        </p:nvSpPr>
        <p:spPr>
          <a:xfrm>
            <a:off x="1371600" y="2914650"/>
            <a:ext cx="6400800" cy="131445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fr-FR" smtClean="0"/>
              <a:t>Modifiez le style des sous-titres du masque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30E2307-1E40-4E12-8716-25BFDA8E7013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0776506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pour une image 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65F084C-8436-5043-9355-084BB4575177}" type="datetimeFigureOut">
              <a:rPr lang="fr-FR" smtClean="0"/>
              <a:t>04/12/2018</a:t>
            </a:fld>
            <a:endParaRPr lang="fr-FR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BEAC84F-F294-2941-AC9C-F2599A6DD990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49783128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re et texte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5CFCF5A-EA79-452C-A52C-1A2668C2E7DF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1538179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itre vertical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vertical 1"/>
          <p:cNvSpPr>
            <a:spLocks noGrp="1"/>
          </p:cNvSpPr>
          <p:nvPr>
            <p:ph type="title" orient="vert"/>
          </p:nvPr>
        </p:nvSpPr>
        <p:spPr>
          <a:xfrm>
            <a:off x="6629400" y="154782"/>
            <a:ext cx="2057400" cy="3290888"/>
          </a:xfrm>
        </p:spPr>
        <p:txBody>
          <a:bodyPr vert="eaVert"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vertical 2"/>
          <p:cNvSpPr>
            <a:spLocks noGrp="1"/>
          </p:cNvSpPr>
          <p:nvPr>
            <p:ph type="body" orient="vert" idx="1"/>
          </p:nvPr>
        </p:nvSpPr>
        <p:spPr>
          <a:xfrm>
            <a:off x="457200" y="154782"/>
            <a:ext cx="6019800" cy="3290888"/>
          </a:xfrm>
        </p:spPr>
        <p:txBody>
          <a:bodyPr vert="eaVert"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E5C4C28-BD4B-4892-9A2D-6E19BD753A9A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98007445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MAIN_POINT">
  <p:cSld name="MAIN_POINT">
    <p:bg>
      <p:bgPr>
        <a:solidFill>
          <a:schemeClr val="dk1"/>
        </a:solidFill>
        <a:effectLst/>
      </p:bgPr>
    </p:bg>
    <p:spTree>
      <p:nvGrpSpPr>
        <p:cNvPr id="1" name="Shape 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Google Shape;10;p2"/>
          <p:cNvSpPr txBox="1">
            <a:spLocks noGrp="1"/>
          </p:cNvSpPr>
          <p:nvPr>
            <p:ph type="title"/>
          </p:nvPr>
        </p:nvSpPr>
        <p:spPr>
          <a:xfrm>
            <a:off x="490250" y="526350"/>
            <a:ext cx="5618700" cy="4090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/>
          <a:lstStyle>
            <a:lvl1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Lato"/>
              <a:buNone/>
              <a:defRPr sz="48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R="0" lvl="1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Lato"/>
              <a:buNone/>
              <a:defRPr sz="48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R="0" lvl="2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Lato"/>
              <a:buNone/>
              <a:defRPr sz="48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R="0" lvl="3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Lato"/>
              <a:buNone/>
              <a:defRPr sz="48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R="0" lvl="4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Lato"/>
              <a:buNone/>
              <a:defRPr sz="48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R="0" lvl="5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Lato"/>
              <a:buNone/>
              <a:defRPr sz="48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R="0" lvl="6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Lato"/>
              <a:buNone/>
              <a:defRPr sz="48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R="0" lvl="7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Lato"/>
              <a:buNone/>
              <a:defRPr sz="48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R="0" lvl="8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4800"/>
              <a:buFont typeface="Lato"/>
              <a:buNone/>
              <a:defRPr sz="48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endParaRPr/>
          </a:p>
        </p:txBody>
      </p:sp>
      <p:sp>
        <p:nvSpPr>
          <p:cNvPr id="11" name="Google Shape;11;p2"/>
          <p:cNvSpPr txBox="1">
            <a:spLocks noGrp="1"/>
          </p:cNvSpPr>
          <p:nvPr>
            <p:ph type="sldNum" idx="12"/>
          </p:nvPr>
        </p:nvSpPr>
        <p:spPr>
          <a:xfrm>
            <a:off x="8490250" y="4681009"/>
            <a:ext cx="548700" cy="3936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>
            <a:lvl1pPr marL="0" marR="0" lvl="0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1pPr>
            <a:lvl2pPr marL="0" marR="0" lvl="1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2pPr>
            <a:lvl3pPr marL="0" marR="0" lvl="2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3pPr>
            <a:lvl4pPr marL="0" marR="0" lvl="3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4pPr>
            <a:lvl5pPr marL="0" marR="0" lvl="4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5pPr>
            <a:lvl6pPr marL="0" marR="0" lvl="5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6pPr>
            <a:lvl7pPr marL="0" marR="0" lvl="6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7pPr>
            <a:lvl8pPr marL="0" marR="0" lvl="7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8pPr>
            <a:lvl9pPr marL="0" marR="0" lvl="8" indent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000000"/>
              </a:buClr>
              <a:buSzPts val="1000"/>
              <a:buFont typeface="Arial"/>
              <a:buNone/>
              <a:defRPr sz="1000" b="0" i="0" u="none" strike="noStrike" cap="none">
                <a:solidFill>
                  <a:schemeClr val="lt1"/>
                </a:solidFill>
                <a:latin typeface="Lato"/>
                <a:ea typeface="Lato"/>
                <a:cs typeface="Lato"/>
                <a:sym typeface="Lato"/>
              </a:defRPr>
            </a:lvl9pPr>
          </a:lstStyle>
          <a:p>
            <a:pPr marL="0" lvl="0" indent="0" algn="r" rtl="0">
              <a:spcBef>
                <a:spcPts val="0"/>
              </a:spcBef>
              <a:spcAft>
                <a:spcPts val="0"/>
              </a:spcAft>
              <a:buNone/>
            </a:pPr>
            <a:fld id="{00000000-1234-1234-1234-123412341234}" type="slidenum">
              <a:rPr lang="en-US"/>
              <a:t>‹N°›</a:t>
            </a:fld>
            <a:endParaRPr/>
          </a:p>
        </p:txBody>
      </p:sp>
    </p:spTree>
    <p:extLst>
      <p:ext uri="{BB962C8B-B14F-4D97-AF65-F5344CB8AC3E}">
        <p14:creationId xmlns:p14="http://schemas.microsoft.com/office/powerpoint/2010/main" val="365491944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ignature de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Espace réservé du numéro de diapositive 5"/>
          <p:cNvSpPr txBox="1">
            <a:spLocks/>
          </p:cNvSpPr>
          <p:nvPr userDrawn="1"/>
        </p:nvSpPr>
        <p:spPr>
          <a:xfrm>
            <a:off x="182701" y="4750053"/>
            <a:ext cx="793217" cy="273844"/>
          </a:xfrm>
          <a:prstGeom prst="rect">
            <a:avLst/>
          </a:prstGeom>
        </p:spPr>
        <p:txBody>
          <a:bodyPr vert="horz" lIns="68579" tIns="34289" rIns="68579" bIns="34289" rtlCol="0" anchor="ctr"/>
          <a:lstStyle>
            <a:defPPr>
              <a:defRPr lang="fr-FR"/>
            </a:defPPr>
            <a:lvl1pPr marL="0" algn="l" defTabSz="914400" rtl="0" eaLnBrk="1" latinLnBrk="0" hangingPunct="1">
              <a:lnSpc>
                <a:spcPts val="1400"/>
              </a:lnSpc>
              <a:defRPr sz="1400" b="1" i="0" kern="1200">
                <a:solidFill>
                  <a:schemeClr val="tx1"/>
                </a:solidFill>
                <a:latin typeface="Helvetica" charset="0"/>
                <a:ea typeface="Helvetica" charset="0"/>
                <a:cs typeface="Helvetica" charset="0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defTabSz="685783" fontAlgn="auto">
              <a:lnSpc>
                <a:spcPts val="1050"/>
              </a:lnSpc>
              <a:spcBef>
                <a:spcPts val="0"/>
              </a:spcBef>
              <a:spcAft>
                <a:spcPts val="0"/>
              </a:spcAft>
              <a:defRPr/>
            </a:pPr>
            <a:fld id="{33DF990B-2CBF-ED46-8CEC-828D30AD8B6D}" type="slidenum">
              <a:rPr lang="fr-FR" sz="1100" smtClean="0">
                <a:solidFill>
                  <a:prstClr val="black"/>
                </a:solidFill>
              </a:rPr>
              <a:pPr defTabSz="685783" fontAlgn="auto">
                <a:lnSpc>
                  <a:spcPts val="1050"/>
                </a:lnSpc>
                <a:spcBef>
                  <a:spcPts val="0"/>
                </a:spcBef>
                <a:spcAft>
                  <a:spcPts val="0"/>
                </a:spcAft>
                <a:defRPr/>
              </a:pPr>
              <a:t>‹N°›</a:t>
            </a:fld>
            <a:endParaRPr lang="fr-FR" sz="1100" dirty="0" smtClean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838640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 userDrawn="1"/>
        </p:nvSpPr>
        <p:spPr>
          <a:xfrm>
            <a:off x="167951" y="4469086"/>
            <a:ext cx="4237362" cy="4837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39727" y="339726"/>
            <a:ext cx="5832475" cy="3460750"/>
          </a:xfrm>
        </p:spPr>
        <p:txBody>
          <a:bodyPr/>
          <a:lstStyle>
            <a:lvl1pPr>
              <a:lnSpc>
                <a:spcPct val="85000"/>
              </a:lnSpc>
              <a:spcAft>
                <a:spcPts val="3200"/>
              </a:spcAft>
              <a:defRPr sz="5500">
                <a:solidFill>
                  <a:schemeClr val="tx1"/>
                </a:solidFill>
                <a:latin typeface="Helvetica 75 Bold" panose="020B0804020202020204" pitchFamily="34" charset="0"/>
              </a:defRPr>
            </a:lvl1pPr>
            <a:lvl2pPr>
              <a:lnSpc>
                <a:spcPct val="90000"/>
              </a:lnSpc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2"/>
          </p:nvPr>
        </p:nvSpPr>
        <p:spPr>
          <a:xfrm>
            <a:off x="6508765" y="339726"/>
            <a:ext cx="2301875" cy="3460750"/>
          </a:xfrm>
        </p:spPr>
        <p:txBody>
          <a:bodyPr tIns="109728"/>
          <a:lstStyle>
            <a:lvl1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1pPr>
            <a:lvl2pPr>
              <a:spcAft>
                <a:spcPts val="2400"/>
              </a:spcAft>
              <a:defRPr>
                <a:latin typeface="Helvetica 75 Bold" panose="020B0804020202020204" pitchFamily="34" charset="0"/>
              </a:defRPr>
            </a:lvl2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</p:txBody>
      </p:sp>
    </p:spTree>
    <p:extLst>
      <p:ext uri="{BB962C8B-B14F-4D97-AF65-F5344CB8AC3E}">
        <p14:creationId xmlns:p14="http://schemas.microsoft.com/office/powerpoint/2010/main" val="312419234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  <p:hf sldNum="0" hdr="0" ftr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493563"/>
          </a:xfrm>
        </p:spPr>
        <p:txBody>
          <a:bodyPr/>
          <a:lstStyle>
            <a:lvl1pPr algn="l">
              <a:defRPr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467544" y="1131590"/>
            <a:ext cx="8229600" cy="3394472"/>
          </a:xfrm>
        </p:spPr>
        <p:txBody>
          <a:bodyPr/>
          <a:lstStyle/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1FD9D02-426E-46C9-9EE9-0DE1EF8B2838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8420258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B8AEBBE-F8B2-42CF-9895-E86A608384EB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0896751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251520" y="205979"/>
            <a:ext cx="8640960" cy="857250"/>
          </a:xfrm>
        </p:spPr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>
          <a:xfrm>
            <a:off x="251520" y="1131590"/>
            <a:ext cx="4038600" cy="3600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860032" y="1131590"/>
            <a:ext cx="4038600" cy="36004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1FAA6B6-10E5-4810-BC9F-DA72D8452E73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005283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eux contenu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0" y="0"/>
            <a:ext cx="4572000" cy="5143500"/>
          </a:xfrm>
        </p:spPr>
        <p:txBody>
          <a:bodyPr/>
          <a:lstStyle>
            <a:lvl1pPr marL="457200" indent="-457200">
              <a:buClr>
                <a:schemeClr val="bg1"/>
              </a:buClr>
              <a:buFont typeface="Arial" panose="020B0604020202020204" pitchFamily="34" charset="0"/>
              <a:buChar char="•"/>
              <a:defRPr/>
            </a:lvl1pPr>
          </a:lstStyle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0" y="0"/>
            <a:ext cx="4572000" cy="514350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978766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7" name="Espace réservé de la date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D18D072-EF12-4AA2-BD71-ABC68B06D0E2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8" name="Espace réservé du pied de page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Espace réservé du numéro de diapositive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91251398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8CDBF60-6CC3-4B74-A60D-3486985E4346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2457923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V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a date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2714818-984F-4759-BF72-A33BDC1963BD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3" name="Espace réservé du pied de page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3395102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u avec lég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fr-FR" smtClean="0"/>
              <a:t>Modifiez le style du titre</a:t>
            </a:r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fr-FR" smtClean="0"/>
              <a:t>Modifiez les styles du texte du masque</a:t>
            </a:r>
          </a:p>
          <a:p>
            <a:pPr lvl="1"/>
            <a:r>
              <a:rPr lang="fr-FR" smtClean="0"/>
              <a:t>Deuxième niveau</a:t>
            </a:r>
          </a:p>
          <a:p>
            <a:pPr lvl="2"/>
            <a:r>
              <a:rPr lang="fr-FR" smtClean="0"/>
              <a:t>Troisième niveau</a:t>
            </a:r>
          </a:p>
          <a:p>
            <a:pPr lvl="3"/>
            <a:r>
              <a:rPr lang="fr-FR" smtClean="0"/>
              <a:t>Quatrième niveau</a:t>
            </a:r>
          </a:p>
          <a:p>
            <a:pPr lvl="4"/>
            <a:r>
              <a:rPr lang="fr-FR" smtClean="0"/>
              <a:t>Cinquième niveau</a:t>
            </a:r>
            <a:endParaRPr lang="fr-FR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fr-FR" smtClean="0"/>
              <a:t>Modifiez les styles du texte du masque</a:t>
            </a:r>
          </a:p>
        </p:txBody>
      </p:sp>
      <p:sp>
        <p:nvSpPr>
          <p:cNvPr id="5" name="Espace réservé de la date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EA7E191-5F94-4FC1-B823-BD7CABF7FA06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87D7A59-36E2-48B9-B146-C1E59501F63F}" type="slidenum">
              <a:rPr lang="en-US" smtClean="0"/>
              <a:pPr/>
              <a:t>‹N°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93987559"/>
      </p:ext>
    </p:extLst>
  </p:cSld>
  <p:clrMapOvr>
    <a:masterClrMapping/>
  </p:clrMapOvr>
  <p:timing>
    <p:tnLst>
      <p:par>
        <p:cTn id="1" dur="indefinite" restart="never" nodeType="tmRoot"/>
      </p:par>
    </p:tnLst>
  </p:timing>
  <p:hf hdr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20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oleObject" Target="../embeddings/oleObject1.bin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u titr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 dirty="0" smtClean="0"/>
              <a:t>Modifiez le style du titre</a:t>
            </a:r>
            <a:endParaRPr lang="fr-FR" dirty="0"/>
          </a:p>
        </p:txBody>
      </p:sp>
      <p:sp>
        <p:nvSpPr>
          <p:cNvPr id="3" name="Espace réservé du texte 2"/>
          <p:cNvSpPr>
            <a:spLocks noGrp="1"/>
          </p:cNvSpPr>
          <p:nvPr>
            <p:ph type="body" idx="1"/>
          </p:nvPr>
        </p:nvSpPr>
        <p:spPr>
          <a:xfrm>
            <a:off x="457200" y="1200151"/>
            <a:ext cx="8229600" cy="3394472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 smtClean="0"/>
              <a:t>Modifiez les styles du texte du masque</a:t>
            </a:r>
          </a:p>
          <a:p>
            <a:pPr lvl="1"/>
            <a:r>
              <a:rPr lang="fr-FR" dirty="0" smtClean="0"/>
              <a:t>Deuxième niveau</a:t>
            </a:r>
          </a:p>
          <a:p>
            <a:pPr lvl="2"/>
            <a:r>
              <a:rPr lang="fr-FR" dirty="0" smtClean="0"/>
              <a:t>Troisième niveau</a:t>
            </a:r>
          </a:p>
          <a:p>
            <a:pPr lvl="3"/>
            <a:r>
              <a:rPr lang="fr-FR" dirty="0" smtClean="0"/>
              <a:t>Quatrième niveau</a:t>
            </a:r>
          </a:p>
          <a:p>
            <a:pPr lvl="4"/>
            <a:r>
              <a:rPr lang="fr-FR" dirty="0" smtClean="0"/>
              <a:t>Cinquième niveau</a:t>
            </a:r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2"/>
          </p:nvPr>
        </p:nvSpPr>
        <p:spPr>
          <a:xfrm>
            <a:off x="457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45A5604-1775-4E06-B54B-3A72232D505C}" type="datetimeFigureOut">
              <a:rPr lang="fr-FR" smtClean="0"/>
              <a:t>04/12/2018</a:t>
            </a:fld>
            <a:endParaRPr lang="fr-FR"/>
          </a:p>
        </p:txBody>
      </p:sp>
      <p:sp>
        <p:nvSpPr>
          <p:cNvPr id="5" name="Espace réservé du pied de page 4"/>
          <p:cNvSpPr>
            <a:spLocks noGrp="1"/>
          </p:cNvSpPr>
          <p:nvPr>
            <p:ph type="ftr" sz="quarter" idx="3"/>
          </p:nvPr>
        </p:nvSpPr>
        <p:spPr>
          <a:xfrm>
            <a:off x="3124200" y="4767264"/>
            <a:ext cx="2895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"/>
          </p:nvPr>
        </p:nvSpPr>
        <p:spPr>
          <a:xfrm>
            <a:off x="6553200" y="4767264"/>
            <a:ext cx="21336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0E2B0C5-8615-4E66-8129-99B409A10EB9}" type="slidenum">
              <a:rPr lang="fr-FR" smtClean="0"/>
              <a:t>‹N°›</a:t>
            </a:fld>
            <a:endParaRPr lang="fr-FR"/>
          </a:p>
        </p:txBody>
      </p:sp>
      <p:graphicFrame>
        <p:nvGraphicFramePr>
          <p:cNvPr id="7" name="Objet 6" hidden="1"/>
          <p:cNvGraphicFramePr>
            <a:graphicFrameLocks noChangeAspect="1"/>
          </p:cNvGraphicFramePr>
          <p:nvPr userDrawn="1">
            <p:custDataLst>
              <p:tags r:id="rId18"/>
            </p:custDataLst>
            <p:extLst>
              <p:ext uri="{D42A27DB-BD31-4B8C-83A1-F6EECF244321}">
                <p14:modId xmlns:p14="http://schemas.microsoft.com/office/powerpoint/2010/main" val="36831250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2208" name="Diapositive think-cell" r:id="rId19" imgW="270" imgH="270" progId="TCLayout.ActiveDocument.1">
                  <p:embed/>
                </p:oleObj>
              </mc:Choice>
              <mc:Fallback>
                <p:oleObj name="Diapositive think-cell" r:id="rId19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667799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64" r:id="rId1"/>
    <p:sldLayoutId id="2147483865" r:id="rId2"/>
    <p:sldLayoutId id="2147483866" r:id="rId3"/>
    <p:sldLayoutId id="2147483867" r:id="rId4"/>
    <p:sldLayoutId id="2147483883" r:id="rId5"/>
    <p:sldLayoutId id="2147483868" r:id="rId6"/>
    <p:sldLayoutId id="2147483869" r:id="rId7"/>
    <p:sldLayoutId id="2147483870" r:id="rId8"/>
    <p:sldLayoutId id="2147483871" r:id="rId9"/>
    <p:sldLayoutId id="2147483872" r:id="rId10"/>
    <p:sldLayoutId id="2147483873" r:id="rId11"/>
    <p:sldLayoutId id="2147483874" r:id="rId12"/>
    <p:sldLayoutId id="2147483875" r:id="rId13"/>
    <p:sldLayoutId id="2147483878" r:id="rId14"/>
    <p:sldLayoutId id="2147483880" r:id="rId15"/>
  </p:sldLayoutIdLst>
  <p:transition spd="med">
    <p:fade/>
  </p:transition>
  <p:timing>
    <p:tnLst>
      <p:par>
        <p:cTn id="1" dur="indefinite" restart="never" nodeType="tmRoot"/>
      </p:par>
    </p:tnLst>
  </p:timing>
  <p:hf hdr="0"/>
  <p:txStyles>
    <p:titleStyle>
      <a:lvl1pPr algn="l" defTabSz="914400" rtl="0" eaLnBrk="1" latinLnBrk="0" hangingPunct="1">
        <a:spcBef>
          <a:spcPct val="0"/>
        </a:spcBef>
        <a:buNone/>
        <a:defRPr sz="3200" kern="1200">
          <a:solidFill>
            <a:srgbClr val="7030A0"/>
          </a:solidFill>
          <a:latin typeface="Helvetica 75 Bold" panose="020B0804020202020204" pitchFamily="34" charset="0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fr-F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jpeg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5.xml"/><Relationship Id="rId2" Type="http://schemas.openxmlformats.org/officeDocument/2006/relationships/diagramData" Target="../diagrams/data5.xml"/><Relationship Id="rId1" Type="http://schemas.openxmlformats.org/officeDocument/2006/relationships/slideLayout" Target="../slideLayouts/slideLayout5.xml"/><Relationship Id="rId6" Type="http://schemas.microsoft.com/office/2007/relationships/diagramDrawing" Target="../diagrams/drawing5.xml"/><Relationship Id="rId5" Type="http://schemas.openxmlformats.org/officeDocument/2006/relationships/diagramColors" Target="../diagrams/colors5.xml"/><Relationship Id="rId4" Type="http://schemas.openxmlformats.org/officeDocument/2006/relationships/diagramQuickStyle" Target="../diagrams/quickStyle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6.xml"/><Relationship Id="rId7" Type="http://schemas.microsoft.com/office/2007/relationships/diagramDrawing" Target="../diagrams/drawing6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6" Type="http://schemas.openxmlformats.org/officeDocument/2006/relationships/diagramColors" Target="../diagrams/colors6.xml"/><Relationship Id="rId5" Type="http://schemas.openxmlformats.org/officeDocument/2006/relationships/diagramQuickStyle" Target="../diagrams/quickStyle6.xml"/><Relationship Id="rId4" Type="http://schemas.openxmlformats.org/officeDocument/2006/relationships/diagramLayout" Target="../diagrams/layout6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hyperlink" Target="http://www.youtube.com/watch?v=6AzuCwHrUps" TargetMode="External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3.xml"/><Relationship Id="rId4" Type="http://schemas.openxmlformats.org/officeDocument/2006/relationships/image" Target="../media/image1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19.jpeg"/><Relationship Id="rId1" Type="http://schemas.openxmlformats.org/officeDocument/2006/relationships/slideLayout" Target="../slideLayouts/slideLayout2.xml"/><Relationship Id="rId5" Type="http://schemas.openxmlformats.org/officeDocument/2006/relationships/comments" Target="../comments/comment1.xml"/><Relationship Id="rId4" Type="http://schemas.openxmlformats.org/officeDocument/2006/relationships/image" Target="../media/image21.jpeg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jpeg"/><Relationship Id="rId1" Type="http://schemas.openxmlformats.org/officeDocument/2006/relationships/slideLayout" Target="../slideLayouts/slideLayout2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jpeg"/><Relationship Id="rId1" Type="http://schemas.openxmlformats.org/officeDocument/2006/relationships/slideLayout" Target="../slideLayouts/slideLayout5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4.jpeg"/><Relationship Id="rId1" Type="http://schemas.openxmlformats.org/officeDocument/2006/relationships/slideLayout" Target="../slideLayouts/slideLayout2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image" Target="../media/image25.jpeg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Relationship Id="rId6" Type="http://schemas.openxmlformats.org/officeDocument/2006/relationships/image" Target="../media/image7.png"/><Relationship Id="rId5" Type="http://schemas.openxmlformats.org/officeDocument/2006/relationships/image" Target="../media/image6.png"/><Relationship Id="rId4" Type="http://schemas.openxmlformats.org/officeDocument/2006/relationships/image" Target="../media/image5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7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29.jpeg"/><Relationship Id="rId4" Type="http://schemas.openxmlformats.org/officeDocument/2006/relationships/image" Target="../media/image28.jpeg"/></Relationships>
</file>

<file path=ppt/slides/_rels/slide21.xml.rels><?xml version="1.0" encoding="UTF-8" standalone="yes"?>
<Relationships xmlns="http://schemas.openxmlformats.org/package/2006/relationships"><Relationship Id="rId3" Type="http://schemas.microsoft.com/office/2007/relationships/hdphoto" Target="../media/hdphoto3.wdp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5.xml"/></Relationships>
</file>

<file path=ppt/slides/_rels/slide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1.jpeg"/><Relationship Id="rId1" Type="http://schemas.openxmlformats.org/officeDocument/2006/relationships/slideLayout" Target="../slideLayouts/slideLayout5.xml"/></Relationships>
</file>

<file path=ppt/slides/_rels/slide23.xml.rels><?xml version="1.0" encoding="UTF-8" standalone="yes"?>
<Relationships xmlns="http://schemas.openxmlformats.org/package/2006/relationships"><Relationship Id="rId3" Type="http://schemas.microsoft.com/office/2007/relationships/hdphoto" Target="../media/hdphoto4.wdp"/><Relationship Id="rId2" Type="http://schemas.openxmlformats.org/officeDocument/2006/relationships/image" Target="../media/image32.jpeg"/><Relationship Id="rId1" Type="http://schemas.openxmlformats.org/officeDocument/2006/relationships/slideLayout" Target="../slideLayouts/slideLayout4.xml"/></Relationships>
</file>

<file path=ppt/slides/_rels/slide24.xml.rels><?xml version="1.0" encoding="UTF-8" standalone="yes"?>
<Relationships xmlns="http://schemas.openxmlformats.org/package/2006/relationships"><Relationship Id="rId3" Type="http://schemas.microsoft.com/office/2007/relationships/hdphoto" Target="../media/hdphoto5.wdp"/><Relationship Id="rId2" Type="http://schemas.openxmlformats.org/officeDocument/2006/relationships/image" Target="../media/image33.jpeg"/><Relationship Id="rId1" Type="http://schemas.openxmlformats.org/officeDocument/2006/relationships/slideLayout" Target="../slideLayouts/slideLayout1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13" Type="http://schemas.openxmlformats.org/officeDocument/2006/relationships/image" Target="../media/image41.png"/><Relationship Id="rId3" Type="http://schemas.openxmlformats.org/officeDocument/2006/relationships/slideLayout" Target="../slideLayouts/slideLayout7.xml"/><Relationship Id="rId7" Type="http://schemas.openxmlformats.org/officeDocument/2006/relationships/image" Target="../media/image35.png"/><Relationship Id="rId12" Type="http://schemas.openxmlformats.org/officeDocument/2006/relationships/image" Target="../media/image40.jpeg"/><Relationship Id="rId2" Type="http://schemas.openxmlformats.org/officeDocument/2006/relationships/tags" Target="../tags/tag3.xml"/><Relationship Id="rId16" Type="http://schemas.openxmlformats.org/officeDocument/2006/relationships/image" Target="../media/image44.jpeg"/><Relationship Id="rId1" Type="http://schemas.openxmlformats.org/officeDocument/2006/relationships/vmlDrawing" Target="../drawings/vmlDrawing2.vml"/><Relationship Id="rId6" Type="http://schemas.openxmlformats.org/officeDocument/2006/relationships/image" Target="../media/image34.emf"/><Relationship Id="rId11" Type="http://schemas.openxmlformats.org/officeDocument/2006/relationships/image" Target="../media/image39.jpeg"/><Relationship Id="rId5" Type="http://schemas.openxmlformats.org/officeDocument/2006/relationships/oleObject" Target="../embeddings/oleObject2.bin"/><Relationship Id="rId15" Type="http://schemas.openxmlformats.org/officeDocument/2006/relationships/image" Target="../media/image43.png"/><Relationship Id="rId10" Type="http://schemas.openxmlformats.org/officeDocument/2006/relationships/image" Target="../media/image38.jpeg"/><Relationship Id="rId4" Type="http://schemas.openxmlformats.org/officeDocument/2006/relationships/notesSlide" Target="../notesSlides/notesSlide9.xml"/><Relationship Id="rId9" Type="http://schemas.openxmlformats.org/officeDocument/2006/relationships/image" Target="../media/image37.png"/><Relationship Id="rId14" Type="http://schemas.openxmlformats.org/officeDocument/2006/relationships/image" Target="../media/image42.png"/></Relationships>
</file>

<file path=ppt/slides/_rels/slide2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5.xml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7.xml"/><Relationship Id="rId2" Type="http://schemas.openxmlformats.org/officeDocument/2006/relationships/diagramData" Target="../diagrams/data7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7.xml"/><Relationship Id="rId5" Type="http://schemas.openxmlformats.org/officeDocument/2006/relationships/diagramColors" Target="../diagrams/colors7.xml"/><Relationship Id="rId4" Type="http://schemas.openxmlformats.org/officeDocument/2006/relationships/diagramQuickStyle" Target="../diagrams/quickStyle7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gif"/><Relationship Id="rId1" Type="http://schemas.openxmlformats.org/officeDocument/2006/relationships/slideLayout" Target="../slideLayouts/slideLayout2.xml"/></Relationships>
</file>

<file path=ppt/slides/_rels/slide29.xml.rels><?xml version="1.0" encoding="UTF-8" standalone="yes"?>
<Relationships xmlns="http://schemas.openxmlformats.org/package/2006/relationships"><Relationship Id="rId3" Type="http://schemas.openxmlformats.org/officeDocument/2006/relationships/hyperlink" Target="http://social-media-orange-360.fr/" TargetMode="External"/><Relationship Id="rId2" Type="http://schemas.openxmlformats.org/officeDocument/2006/relationships/hyperlink" Target="https://www.ege.fr/index.php/actualites/la-revue-de-presse/item/la-manipulation-des-emotions-sur-les-reseaux-sociaux-est-une-realite-l-ege-sur-frenchweb.html" TargetMode="External"/><Relationship Id="rId1" Type="http://schemas.openxmlformats.org/officeDocument/2006/relationships/slideLayout" Target="../slideLayouts/slideLayout5.xml"/><Relationship Id="rId4" Type="http://schemas.openxmlformats.org/officeDocument/2006/relationships/hyperlink" Target="https://medium.com/sociallistening" TargetMode="Externa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image" Target="../media/image8.jpeg"/><Relationship Id="rId1" Type="http://schemas.openxmlformats.org/officeDocument/2006/relationships/slideLayout" Target="../slideLayouts/slideLayout13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0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6.xml.rels><?xml version="1.0" encoding="UTF-8" standalone="yes"?>
<Relationships xmlns="http://schemas.openxmlformats.org/package/2006/relationships"><Relationship Id="rId3" Type="http://schemas.microsoft.com/office/2007/relationships/hdphoto" Target="../media/hdphoto2.wdp"/><Relationship Id="rId2" Type="http://schemas.openxmlformats.org/officeDocument/2006/relationships/image" Target="../media/image13.jpe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2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diagramLayout" Target="../diagrams/layout3.xml"/><Relationship Id="rId2" Type="http://schemas.openxmlformats.org/officeDocument/2006/relationships/diagramData" Target="../diagrams/data3.xml"/><Relationship Id="rId1" Type="http://schemas.openxmlformats.org/officeDocument/2006/relationships/slideLayout" Target="../slideLayouts/slideLayout2.xml"/><Relationship Id="rId6" Type="http://schemas.microsoft.com/office/2007/relationships/diagramDrawing" Target="../diagrams/drawing3.xml"/><Relationship Id="rId5" Type="http://schemas.openxmlformats.org/officeDocument/2006/relationships/diagramColors" Target="../diagrams/colors3.xml"/><Relationship Id="rId4" Type="http://schemas.openxmlformats.org/officeDocument/2006/relationships/diagramQuickStyle" Target="../diagrams/quickStyle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https://www.aege.fr/ressources/temp/80_850x525_46983185_3128926508_2018151733-1539003749-social-media-listening.jpeg.jpeg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GlowEdges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/>
          <p:cNvSpPr>
            <a:spLocks noGrp="1"/>
          </p:cNvSpPr>
          <p:nvPr>
            <p:ph type="ctrTitle"/>
          </p:nvPr>
        </p:nvSpPr>
        <p:spPr>
          <a:xfrm>
            <a:off x="251520" y="339502"/>
            <a:ext cx="5470376" cy="1102519"/>
          </a:xfrm>
        </p:spPr>
        <p:txBody>
          <a:bodyPr>
            <a:noAutofit/>
          </a:bodyPr>
          <a:lstStyle/>
          <a:p>
            <a:r>
              <a:rPr lang="fr-FR" sz="4400" dirty="0">
                <a:solidFill>
                  <a:schemeClr val="bg1"/>
                </a:solidFill>
              </a:rPr>
              <a:t>Conférence Social Media Listening</a:t>
            </a:r>
          </a:p>
        </p:txBody>
      </p:sp>
      <p:sp>
        <p:nvSpPr>
          <p:cNvPr id="5" name="Sous-titre 4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r>
              <a:rPr lang="fr-FR" dirty="0">
                <a:solidFill>
                  <a:schemeClr val="bg1"/>
                </a:solidFill>
              </a:rPr>
              <a:t>Groupe "Club </a:t>
            </a:r>
            <a:r>
              <a:rPr lang="fr-FR" dirty="0" err="1">
                <a:solidFill>
                  <a:schemeClr val="bg1"/>
                </a:solidFill>
              </a:rPr>
              <a:t>Webtechno</a:t>
            </a:r>
            <a:r>
              <a:rPr lang="fr-FR" dirty="0">
                <a:solidFill>
                  <a:schemeClr val="bg1"/>
                </a:solidFill>
              </a:rPr>
              <a:t>"</a:t>
            </a:r>
          </a:p>
        </p:txBody>
      </p:sp>
      <p:pic>
        <p:nvPicPr>
          <p:cNvPr id="7" name="Picture 3"/>
          <p:cNvPicPr>
            <a:picLocks noChangeAspect="1" noChangeArrowheads="1"/>
          </p:cNvPicPr>
          <p:nvPr/>
        </p:nvPicPr>
        <p:blipFill>
          <a:blip r:embed="rId4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028384" y="4083918"/>
            <a:ext cx="989856" cy="98985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015657746"/>
      </p:ext>
    </p:extLst>
  </p:cSld>
  <p:clrMapOvr>
    <a:masterClrMapping/>
  </p:clrMapOvr>
  <p:transition spd="med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Espace réservé du contenu 8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2151284482"/>
              </p:ext>
            </p:extLst>
          </p:nvPr>
        </p:nvGraphicFramePr>
        <p:xfrm>
          <a:off x="971600" y="0"/>
          <a:ext cx="7200800" cy="5143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2" name="AutoShape 2" descr="Person Shrugging on Google Android 9.0"/>
          <p:cNvSpPr>
            <a:spLocks noChangeAspect="1" noChangeArrowheads="1"/>
          </p:cNvSpPr>
          <p:nvPr/>
        </p:nvSpPr>
        <p:spPr bwMode="auto">
          <a:xfrm>
            <a:off x="155575" y="-547688"/>
            <a:ext cx="1143000" cy="114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0020498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fr-FR" dirty="0"/>
          </a:p>
        </p:txBody>
      </p:sp>
      <p:graphicFrame>
        <p:nvGraphicFramePr>
          <p:cNvPr id="10" name="Espace réservé du contenu 9"/>
          <p:cNvGraphicFramePr>
            <a:graphicFrameLocks noGrp="1"/>
          </p:cNvGraphicFramePr>
          <p:nvPr>
            <p:ph sz="half" idx="2"/>
            <p:extLst>
              <p:ext uri="{D42A27DB-BD31-4B8C-83A1-F6EECF244321}">
                <p14:modId xmlns:p14="http://schemas.microsoft.com/office/powerpoint/2010/main" val="1237127795"/>
              </p:ext>
            </p:extLst>
          </p:nvPr>
        </p:nvGraphicFramePr>
        <p:xfrm>
          <a:off x="971600" y="0"/>
          <a:ext cx="7200800" cy="51435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5" name="Espace réservé de la date 4"/>
          <p:cNvSpPr>
            <a:spLocks noGrp="1"/>
          </p:cNvSpPr>
          <p:nvPr>
            <p:ph type="dt" sz="half" idx="4294967295"/>
          </p:nvPr>
        </p:nvSpPr>
        <p:spPr>
          <a:xfrm>
            <a:off x="0" y="4767263"/>
            <a:ext cx="2133600" cy="274637"/>
          </a:xfrm>
        </p:spPr>
        <p:txBody>
          <a:bodyPr/>
          <a:lstStyle/>
          <a:p>
            <a:fld id="{E1FAA6B6-10E5-4810-BC9F-DA72D8452E73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7263"/>
            <a:ext cx="2133600" cy="274637"/>
          </a:xfrm>
        </p:spPr>
        <p:txBody>
          <a:bodyPr/>
          <a:lstStyle/>
          <a:p>
            <a:fld id="{687D7A59-36E2-48B9-B146-C1E59501F63F}" type="slidenum">
              <a:rPr lang="en-US" smtClean="0"/>
              <a:pPr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00294585"/>
      </p:ext>
    </p:extLst>
  </p:cSld>
  <p:clrMapOvr>
    <a:masterClrMapping/>
  </p:clrMapOvr>
  <p:transition spd="med">
    <p:fade/>
  </p:transition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Regrouper les compétences digitales</a:t>
            </a:r>
            <a:endParaRPr lang="fr-FR" dirty="0"/>
          </a:p>
        </p:txBody>
      </p:sp>
      <p:graphicFrame>
        <p:nvGraphicFramePr>
          <p:cNvPr id="14" name="Espace réservé du contenu 13"/>
          <p:cNvGraphicFramePr>
            <a:graphicFrameLocks noGrp="1"/>
          </p:cNvGraphicFramePr>
          <p:nvPr>
            <p:ph sz="half" idx="1"/>
            <p:extLst>
              <p:ext uri="{D42A27DB-BD31-4B8C-83A1-F6EECF244321}">
                <p14:modId xmlns:p14="http://schemas.microsoft.com/office/powerpoint/2010/main" val="493820469"/>
              </p:ext>
            </p:extLst>
          </p:nvPr>
        </p:nvGraphicFramePr>
        <p:xfrm>
          <a:off x="250824" y="1131888"/>
          <a:ext cx="8641655" cy="36004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3893443098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7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5" name="Google Shape;75;p15" descr="Vidéo de présentation de la #SocialRoom" title="#SocialRoom   vidéo passeport">
            <a:hlinkClick r:id="rId3"/>
          </p:cNvPr>
          <p:cNvPicPr preferRelativeResize="0"/>
          <p:nvPr/>
        </p:nvPicPr>
        <p:blipFill>
          <a:blip r:embed="rId4">
            <a:alphaModFix/>
          </a:blip>
          <a:stretch>
            <a:fillRect/>
          </a:stretch>
        </p:blipFill>
        <p:spPr>
          <a:xfrm>
            <a:off x="1142975" y="0"/>
            <a:ext cx="6858042" cy="5143500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79835510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335"/>
            <a:ext cx="9144000" cy="5143165"/>
          </a:xfrm>
          <a:prstGeom prst="rect">
            <a:avLst/>
          </a:prstGeom>
        </p:spPr>
      </p:pic>
      <p:sp>
        <p:nvSpPr>
          <p:cNvPr id="2" name="AutoShape 2" descr="Person Shrugging on Google Android 9.0"/>
          <p:cNvSpPr>
            <a:spLocks noChangeAspect="1" noChangeArrowheads="1"/>
          </p:cNvSpPr>
          <p:nvPr/>
        </p:nvSpPr>
        <p:spPr bwMode="auto">
          <a:xfrm>
            <a:off x="155575" y="-547688"/>
            <a:ext cx="1143000" cy="114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6499709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Découvrir de nouvelles tendances et être alerté en temps réel</a:t>
            </a:r>
            <a:endParaRPr lang="fr-FR" dirty="0"/>
          </a:p>
        </p:txBody>
      </p:sp>
      <p:sp>
        <p:nvSpPr>
          <p:cNvPr id="6" name="ZoneTexte 5"/>
          <p:cNvSpPr txBox="1"/>
          <p:nvPr/>
        </p:nvSpPr>
        <p:spPr>
          <a:xfrm>
            <a:off x="1313636" y="4768865"/>
            <a:ext cx="606256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Helvetica 75 Bold" panose="020B0804020202020204" pitchFamily="34" charset="0"/>
              </a:rPr>
              <a:t>France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Helvetica 75 Bold" panose="020B0804020202020204" pitchFamily="34" charset="0"/>
            </a:endParaRPr>
          </a:p>
        </p:txBody>
      </p:sp>
      <p:pic>
        <p:nvPicPr>
          <p:cNvPr id="8" name="Picture 3" descr="C:\Users\dyef8453\Documents\Projets\_Orange Social Viz\05. Experiences\Ecrans sur site\SocialRoom OF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35759" y="3294071"/>
            <a:ext cx="2347621" cy="148381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9" name="Picture 2" descr="C:\Users\dyef8453\Documents\Projets\_Orange Social Viz\05. Experiences\Ecrans sur site\Romania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996299" y="3294071"/>
            <a:ext cx="3261747" cy="1474794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" name="Picture 3" descr="C:\Users\dyef8453\Documents\Projets\_Orange Social Viz\05. Experiences\Ecrans sur site\Social Room DONC.jpg"/>
          <p:cNvPicPr>
            <a:picLocks noChangeAspect="1" noChangeArrowheads="1"/>
          </p:cNvPicPr>
          <p:nvPr/>
        </p:nvPicPr>
        <p:blipFill rotWithShape="1"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477884" y="3294070"/>
            <a:ext cx="2066197" cy="1483817"/>
          </a:xfrm>
          <a:prstGeom prst="rect">
            <a:avLst/>
          </a:prstGeom>
          <a:noFill/>
          <a:ln>
            <a:solidFill>
              <a:schemeClr val="bg1">
                <a:lumMod val="8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ZoneTexte 10"/>
          <p:cNvSpPr txBox="1"/>
          <p:nvPr/>
        </p:nvSpPr>
        <p:spPr>
          <a:xfrm>
            <a:off x="4237979" y="4845809"/>
            <a:ext cx="728083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Helvetica 75 Bold" panose="020B0804020202020204" pitchFamily="34" charset="0"/>
              </a:rPr>
              <a:t>Romania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Helvetica 75 Bold" panose="020B0804020202020204" pitchFamily="34" charset="0"/>
            </a:endParaRPr>
          </a:p>
        </p:txBody>
      </p:sp>
      <p:sp>
        <p:nvSpPr>
          <p:cNvPr id="12" name="ZoneTexte 11"/>
          <p:cNvSpPr txBox="1"/>
          <p:nvPr/>
        </p:nvSpPr>
        <p:spPr>
          <a:xfrm>
            <a:off x="6858404" y="4845808"/>
            <a:ext cx="1305165" cy="246221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fr-FR" sz="1000" dirty="0" smtClean="0">
                <a:solidFill>
                  <a:schemeClr val="bg1">
                    <a:lumMod val="50000"/>
                  </a:schemeClr>
                </a:solidFill>
                <a:latin typeface="Helvetica 75 Bold" panose="020B0804020202020204" pitchFamily="34" charset="0"/>
              </a:rPr>
              <a:t>Normandie Centre</a:t>
            </a:r>
            <a:endParaRPr lang="en-US" sz="1000" dirty="0">
              <a:solidFill>
                <a:schemeClr val="bg1">
                  <a:lumMod val="50000"/>
                </a:schemeClr>
              </a:solidFill>
              <a:latin typeface="Helvetica 75 Bold" panose="020B0804020202020204" pitchFamily="34" charset="0"/>
            </a:endParaRPr>
          </a:p>
        </p:txBody>
      </p:sp>
      <p:sp>
        <p:nvSpPr>
          <p:cNvPr id="4" name="Espace réservé du contenu 3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>
              <a:buFontTx/>
              <a:buChar char="-"/>
            </a:pPr>
            <a:r>
              <a:rPr lang="fr-FR" b="1" dirty="0" smtClean="0">
                <a:solidFill>
                  <a:srgbClr val="000000"/>
                </a:solidFill>
              </a:rPr>
              <a:t>Afficher en temps réel sur des écrans les activités liées à un produit ou un évènement</a:t>
            </a:r>
          </a:p>
          <a:p>
            <a:pPr>
              <a:buFontTx/>
              <a:buChar char="-"/>
            </a:pPr>
            <a:r>
              <a:rPr lang="fr-FR" b="1" dirty="0" smtClean="0">
                <a:solidFill>
                  <a:srgbClr val="000000"/>
                </a:solidFill>
              </a:rPr>
              <a:t>Idéal pour les Chefs de Produits &amp; Managers et équipes Marketing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220029704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4034" name="Picture 2" descr="Image Caption"/>
          <p:cNvPicPr>
            <a:picLocks noGrp="1" noChangeAspect="1" noChangeArrowheads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0" y="0"/>
            <a:ext cx="9144000" cy="5165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2365771"/>
          </a:xfrm>
        </p:spPr>
        <p:txBody>
          <a:bodyPr>
            <a:normAutofit fontScale="90000"/>
          </a:bodyPr>
          <a:lstStyle/>
          <a:p>
            <a:r>
              <a:rPr lang="fr-FR" sz="6600" dirty="0">
                <a:solidFill>
                  <a:schemeClr val="bg1"/>
                </a:solidFill>
              </a:rPr>
              <a:t>La #</a:t>
            </a:r>
            <a:r>
              <a:rPr lang="fr-FR" sz="6600" dirty="0" err="1">
                <a:solidFill>
                  <a:schemeClr val="bg1"/>
                </a:solidFill>
              </a:rPr>
              <a:t>SocialRoom</a:t>
            </a:r>
            <a:r>
              <a:rPr lang="fr-FR" sz="6600" dirty="0">
                <a:solidFill>
                  <a:schemeClr val="bg1"/>
                </a:solidFill>
              </a:rPr>
              <a:t> est un lieu, le lieu est un média</a:t>
            </a:r>
          </a:p>
        </p:txBody>
      </p:sp>
    </p:spTree>
    <p:extLst>
      <p:ext uri="{BB962C8B-B14F-4D97-AF65-F5344CB8AC3E}">
        <p14:creationId xmlns:p14="http://schemas.microsoft.com/office/powerpoint/2010/main" val="788138801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smtClean="0"/>
              <a:t>Un lieu physique qui regroupe des nouvelles compétences digitales</a:t>
            </a:r>
            <a:endParaRPr lang="fr-FR" dirty="0"/>
          </a:p>
        </p:txBody>
      </p:sp>
      <p:sp>
        <p:nvSpPr>
          <p:cNvPr id="8" name="Espace réservé du contenu 7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4" name="Espace réservé de la date 3"/>
          <p:cNvSpPr>
            <a:spLocks noGrp="1"/>
          </p:cNvSpPr>
          <p:nvPr>
            <p:ph type="dt" sz="half" idx="4294967295"/>
          </p:nvPr>
        </p:nvSpPr>
        <p:spPr>
          <a:xfrm>
            <a:off x="0" y="4767263"/>
            <a:ext cx="2133600" cy="274637"/>
          </a:xfrm>
        </p:spPr>
        <p:txBody>
          <a:bodyPr/>
          <a:lstStyle/>
          <a:p>
            <a:fld id="{61FD9D02-426E-46C9-9EE9-0DE1EF8B2838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7263"/>
            <a:ext cx="2133600" cy="274637"/>
          </a:xfrm>
        </p:spPr>
        <p:txBody>
          <a:bodyPr/>
          <a:lstStyle/>
          <a:p>
            <a:fld id="{687D7A59-36E2-48B9-B146-C1E59501F63F}" type="slidenum">
              <a:rPr lang="en-US" smtClean="0"/>
              <a:pPr/>
              <a:t>17</a:t>
            </a:fld>
            <a:endParaRPr lang="en-US"/>
          </a:p>
        </p:txBody>
      </p:sp>
      <p:pic>
        <p:nvPicPr>
          <p:cNvPr id="9" name="Picture 2" descr="Image Caption"/>
          <p:cNvPicPr>
            <a:picLocks noChangeAspect="1" noChangeArrowheads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4572000" y="0"/>
            <a:ext cx="4572000" cy="516566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5770559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5058" name="Picture 2" descr="Image Caption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-31224" y="-1"/>
            <a:ext cx="9175224" cy="51435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2365771"/>
          </a:xfrm>
        </p:spPr>
        <p:txBody>
          <a:bodyPr>
            <a:normAutofit/>
          </a:bodyPr>
          <a:lstStyle/>
          <a:p>
            <a:r>
              <a:rPr lang="fr-FR" sz="6600" dirty="0" err="1" smtClean="0">
                <a:solidFill>
                  <a:schemeClr val="bg1"/>
                </a:solidFill>
              </a:rPr>
              <a:t>La#SocialRoom</a:t>
            </a:r>
            <a:r>
              <a:rPr lang="fr-FR" sz="6600" dirty="0" smtClean="0">
                <a:solidFill>
                  <a:schemeClr val="bg1"/>
                </a:solidFill>
              </a:rPr>
              <a:t> est un Media</a:t>
            </a:r>
            <a:endParaRPr lang="fr-FR" sz="66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739918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re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La #</a:t>
            </a:r>
            <a:r>
              <a:rPr lang="fr-FR" dirty="0" err="1"/>
              <a:t>SocialRoom</a:t>
            </a:r>
            <a:r>
              <a:rPr lang="fr-FR" dirty="0"/>
              <a:t> est un </a:t>
            </a:r>
            <a:r>
              <a:rPr lang="fr-FR" dirty="0" smtClean="0"/>
              <a:t> média qui produit son propre contenu à partir du Social Listening</a:t>
            </a:r>
            <a:endParaRPr lang="fr-FR" dirty="0"/>
          </a:p>
        </p:txBody>
      </p:sp>
      <p:sp>
        <p:nvSpPr>
          <p:cNvPr id="2" name="Espace réservé du contenu 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fr-FR"/>
          </a:p>
        </p:txBody>
      </p:sp>
      <p:pic>
        <p:nvPicPr>
          <p:cNvPr id="13" name="Picture 4" descr="C:\Users\dyef8453\Documents\Projets\_Orange Social Viz\02. Specifications\Screenshots\topicsmsg-072018.jpg"/>
          <p:cNvPicPr>
            <a:picLocks noChangeAspect="1" noChangeArrowheads="1"/>
          </p:cNvPicPr>
          <p:nvPr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987"/>
            <a:ext cx="4572000" cy="2571749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4" name="Picture 5" descr="C:\Users\dyef8453\Documents\Projets\_Orange Social Viz\02. Specifications\Screenshots\activity 072018.jpg"/>
          <p:cNvPicPr>
            <a:picLocks noChangeAspect="1" noChangeArrowheads="1"/>
          </p:cNvPicPr>
          <p:nvPr/>
        </p:nvPicPr>
        <p:blipFill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0" y="2572736"/>
            <a:ext cx="4572000" cy="2571751"/>
          </a:xfrm>
          <a:prstGeom prst="rect">
            <a:avLst/>
          </a:prstGeom>
          <a:noFill/>
          <a:ln>
            <a:solidFill>
              <a:schemeClr val="bg1">
                <a:lumMod val="75000"/>
              </a:schemeClr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3" name="Rectangle 2"/>
          <p:cNvSpPr/>
          <p:nvPr/>
        </p:nvSpPr>
        <p:spPr>
          <a:xfrm>
            <a:off x="8716358" y="2186709"/>
            <a:ext cx="360040" cy="3600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  <p:sp>
        <p:nvSpPr>
          <p:cNvPr id="7" name="Rectangle 6"/>
          <p:cNvSpPr/>
          <p:nvPr/>
        </p:nvSpPr>
        <p:spPr>
          <a:xfrm>
            <a:off x="8668637" y="4783460"/>
            <a:ext cx="360040" cy="360040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380183041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" name="Google Shape;50;p11"/>
          <p:cNvPicPr preferRelativeResize="0"/>
          <p:nvPr/>
        </p:nvPicPr>
        <p:blipFill rotWithShape="1">
          <a:blip r:embed="rId3">
            <a:alphaModFix/>
          </a:blip>
          <a:srcRect/>
          <a:stretch/>
        </p:blipFill>
        <p:spPr>
          <a:xfrm>
            <a:off x="744" y="6226"/>
            <a:ext cx="9143256" cy="5137274"/>
          </a:xfrm>
          <a:prstGeom prst="rect">
            <a:avLst/>
          </a:prstGeom>
          <a:noFill/>
          <a:ln>
            <a:noFill/>
          </a:ln>
        </p:spPr>
      </p:pic>
      <p:sp>
        <p:nvSpPr>
          <p:cNvPr id="2" name="AutoShape 2" descr="I Tried Texting On WhatsApp Only With Emojis For 24 Hours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3" name="AutoShape 4" descr="I Tried Texting On WhatsApp Only With Emojis For 24 Hours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4" name="AutoShape 6" descr="I Tried Texting On WhatsApp Only With Emojis For 24 Hours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8" name="Picture 5"/>
          <p:cNvPicPr>
            <a:picLocks noChangeAspect="1" noChangeArrowheads="1"/>
          </p:cNvPicPr>
          <p:nvPr/>
        </p:nvPicPr>
        <p:blipFill>
          <a:blip r:embed="rId4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0646" y="2825991"/>
            <a:ext cx="648072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0" name="Picture 11"/>
          <p:cNvPicPr>
            <a:picLocks noChangeAspect="1" noChangeArrowheads="1"/>
          </p:cNvPicPr>
          <p:nvPr/>
        </p:nvPicPr>
        <p:blipFill>
          <a:blip r:embed="rId5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90646" y="2102790"/>
            <a:ext cx="648072" cy="6480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7" name="AutoShape 10" descr="Folded Hands: Light Skin Tone on Apple iOS 12.1"/>
          <p:cNvSpPr>
            <a:spLocks noChangeAspect="1" noChangeArrowheads="1"/>
          </p:cNvSpPr>
          <p:nvPr/>
        </p:nvSpPr>
        <p:spPr bwMode="auto">
          <a:xfrm>
            <a:off x="155575" y="-547688"/>
            <a:ext cx="1143000" cy="114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2" name="Picture 14"/>
          <p:cNvPicPr>
            <a:picLocks noChangeAspect="1" noChangeArrowheads="1"/>
          </p:cNvPicPr>
          <p:nvPr/>
        </p:nvPicPr>
        <p:blipFill>
          <a:blip r:embed="rId6" cstate="email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156924" y="1203598"/>
            <a:ext cx="715516" cy="715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9562144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1196386"/>
          </a:xfrm>
        </p:spPr>
        <p:txBody>
          <a:bodyPr>
            <a:normAutofit fontScale="90000"/>
          </a:bodyPr>
          <a:lstStyle/>
          <a:p>
            <a:r>
              <a:rPr lang="fr-FR" dirty="0" smtClean="0"/>
              <a:t>La #</a:t>
            </a:r>
            <a:r>
              <a:rPr lang="fr-FR" dirty="0" err="1"/>
              <a:t>SocialRoom</a:t>
            </a:r>
            <a:r>
              <a:rPr lang="fr-FR" dirty="0"/>
              <a:t> est un media avec </a:t>
            </a:r>
            <a:r>
              <a:rPr lang="fr-FR" dirty="0" smtClean="0"/>
              <a:t>ses canaux de diffusion (ascenseurs, open </a:t>
            </a:r>
            <a:r>
              <a:rPr lang="fr-FR" dirty="0" err="1" smtClean="0"/>
              <a:t>space</a:t>
            </a:r>
            <a:r>
              <a:rPr lang="fr-FR" dirty="0" smtClean="0"/>
              <a:t>, hall d’accueil)</a:t>
            </a:r>
            <a:endParaRPr lang="fr-FR" dirty="0"/>
          </a:p>
        </p:txBody>
      </p:sp>
      <p:pic>
        <p:nvPicPr>
          <p:cNvPr id="21" name="Picture 2" descr="C:\Users\dyef8453\Documents\Projets\_Orange Social Viz\05. Experiences\Ecrans sur site\Stadium vif 2004 1 small.jpg"/>
          <p:cNvPicPr>
            <a:picLocks noChangeAspect="1" noChangeArrowheads="1"/>
          </p:cNvPicPr>
          <p:nvPr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2915816" y="1547611"/>
            <a:ext cx="2880320" cy="210406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4" descr="C:\Users\dyef8453\Documents\Projets\_Orange Social Viz\05. Experiences\Ecrans sur site\Gardens 2.jpg"/>
          <p:cNvPicPr>
            <a:picLocks noChangeAspect="1" noChangeArrowheads="1"/>
          </p:cNvPicPr>
          <p:nvPr/>
        </p:nvPicPr>
        <p:blipFill>
          <a:blip r:embed="rId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51520" y="1691431"/>
            <a:ext cx="2421898" cy="181642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7" descr="C:\Users\dyef8453\Documents\Projets\_Orange Social Viz\05. Experiences\Ecrans sur site\3A6A1554.jpg"/>
          <p:cNvPicPr>
            <a:picLocks noChangeAspect="1" noChangeArrowheads="1"/>
          </p:cNvPicPr>
          <p:nvPr/>
        </p:nvPicPr>
        <p:blipFill rotWithShape="1">
          <a:blip r:embed="rId5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12160" y="1402365"/>
            <a:ext cx="2833864" cy="239455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ZoneTexte 1"/>
          <p:cNvSpPr txBox="1"/>
          <p:nvPr/>
        </p:nvSpPr>
        <p:spPr>
          <a:xfrm>
            <a:off x="251519" y="3559289"/>
            <a:ext cx="1120820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Ascenseurs</a:t>
            </a:r>
            <a:endParaRPr lang="fr-FR" dirty="0"/>
          </a:p>
        </p:txBody>
      </p:sp>
      <p:sp>
        <p:nvSpPr>
          <p:cNvPr id="7" name="ZoneTexte 6"/>
          <p:cNvSpPr txBox="1"/>
          <p:nvPr/>
        </p:nvSpPr>
        <p:spPr>
          <a:xfrm>
            <a:off x="3131840" y="3714117"/>
            <a:ext cx="1330814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Halls d’accueil</a:t>
            </a:r>
            <a:endParaRPr lang="fr-FR" dirty="0"/>
          </a:p>
        </p:txBody>
      </p:sp>
      <p:sp>
        <p:nvSpPr>
          <p:cNvPr id="8" name="ZoneTexte 7"/>
          <p:cNvSpPr txBox="1"/>
          <p:nvPr/>
        </p:nvSpPr>
        <p:spPr>
          <a:xfrm>
            <a:off x="6040404" y="3796916"/>
            <a:ext cx="2024913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fr-FR" dirty="0" smtClean="0"/>
              <a:t>Bureaux et open </a:t>
            </a:r>
            <a:r>
              <a:rPr lang="fr-FR" dirty="0" err="1" smtClean="0"/>
              <a:t>spac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304028830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La #</a:t>
            </a:r>
            <a:r>
              <a:rPr lang="fr-FR" dirty="0" err="1"/>
              <a:t>SocialRoom</a:t>
            </a:r>
            <a:r>
              <a:rPr lang="fr-FR" dirty="0"/>
              <a:t> est un media </a:t>
            </a:r>
            <a:r>
              <a:rPr lang="fr-FR" dirty="0" smtClean="0"/>
              <a:t>avec ses </a:t>
            </a:r>
            <a:r>
              <a:rPr lang="fr-FR" dirty="0"/>
              <a:t>« </a:t>
            </a:r>
            <a:r>
              <a:rPr lang="fr-FR" dirty="0" smtClean="0"/>
              <a:t>décodeurs</a:t>
            </a:r>
            <a:r>
              <a:rPr lang="fr-FR" dirty="0"/>
              <a:t> </a:t>
            </a:r>
            <a:r>
              <a:rPr lang="fr-FR" dirty="0" smtClean="0"/>
              <a:t>» </a:t>
            </a:r>
            <a:br>
              <a:rPr lang="fr-FR" dirty="0" smtClean="0"/>
            </a:br>
            <a:r>
              <a:rPr lang="fr-FR" dirty="0" smtClean="0"/>
              <a:t/>
            </a:r>
            <a:br>
              <a:rPr lang="fr-FR" dirty="0" smtClean="0"/>
            </a:br>
            <a:r>
              <a:rPr lang="fr-FR" dirty="0" smtClean="0"/>
              <a:t>- Social Stick</a:t>
            </a:r>
            <a:endParaRPr lang="fr-FR" dirty="0"/>
          </a:p>
        </p:txBody>
      </p:sp>
      <p:pic>
        <p:nvPicPr>
          <p:cNvPr id="7" name="Picture 2" descr="Z:\Social Room\Social Box\Social Stick (2).JPG"/>
          <p:cNvPicPr>
            <a:picLocks noGrp="1" noChangeAspect="1" noChangeArrowheads="1"/>
          </p:cNvPicPr>
          <p:nvPr>
            <p:ph sz="half" idx="2"/>
          </p:nvPr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72000" y="1131590"/>
            <a:ext cx="4572000" cy="285978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4" name="Espace réservé de la date 3"/>
          <p:cNvSpPr>
            <a:spLocks noGrp="1"/>
          </p:cNvSpPr>
          <p:nvPr>
            <p:ph type="dt" sz="half" idx="4294967295"/>
          </p:nvPr>
        </p:nvSpPr>
        <p:spPr>
          <a:xfrm>
            <a:off x="0" y="4767263"/>
            <a:ext cx="2133600" cy="274637"/>
          </a:xfrm>
        </p:spPr>
        <p:txBody>
          <a:bodyPr/>
          <a:lstStyle/>
          <a:p>
            <a:fld id="{61FD9D02-426E-46C9-9EE9-0DE1EF8B2838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7263"/>
            <a:ext cx="2133600" cy="274637"/>
          </a:xfrm>
        </p:spPr>
        <p:txBody>
          <a:bodyPr/>
          <a:lstStyle/>
          <a:p>
            <a:fld id="{687D7A59-36E2-48B9-B146-C1E59501F63F}" type="slidenum">
              <a:rPr lang="en-US" smtClean="0"/>
              <a:pPr/>
              <a:t>2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069932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marL="342900" indent="-342900"/>
            <a:r>
              <a:rPr lang="fr-FR" sz="4800" dirty="0" smtClean="0"/>
              <a:t>Social Stick</a:t>
            </a:r>
            <a:br>
              <a:rPr lang="fr-FR" sz="4800" dirty="0" smtClean="0"/>
            </a:br>
            <a:r>
              <a:rPr lang="fr-FR" dirty="0" smtClean="0"/>
              <a:t>clé HDMI pour transformer tout type d’écran en Social Wall</a:t>
            </a:r>
            <a:endParaRPr lang="fr-FR" dirty="0"/>
          </a:p>
        </p:txBody>
      </p:sp>
      <p:sp>
        <p:nvSpPr>
          <p:cNvPr id="4" name="ZoneTexte 3"/>
          <p:cNvSpPr txBox="1"/>
          <p:nvPr/>
        </p:nvSpPr>
        <p:spPr>
          <a:xfrm>
            <a:off x="6719283" y="1131589"/>
            <a:ext cx="18131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712788" fontAlgn="base">
              <a:spcBef>
                <a:spcPct val="0"/>
              </a:spcBef>
              <a:spcAft>
                <a:spcPct val="0"/>
              </a:spcAft>
            </a:pPr>
            <a:r>
              <a:rPr lang="fr-FR" sz="1400" b="1" dirty="0" smtClean="0">
                <a:solidFill>
                  <a:schemeClr val="bg1"/>
                </a:solidFill>
                <a:latin typeface="Arial" panose="020B0604020202020204" pitchFamily="34" charset="0"/>
                <a:ea typeface="ＭＳ Ｐゴシック" pitchFamily="34" charset="-128"/>
                <a:cs typeface="Arial" panose="020B0604020202020204" pitchFamily="34" charset="0"/>
              </a:rPr>
              <a:t>Orange Social Box</a:t>
            </a:r>
            <a:endParaRPr lang="en-US" sz="1400" b="1" dirty="0">
              <a:solidFill>
                <a:schemeClr val="bg1"/>
              </a:solidFill>
              <a:latin typeface="Arial" panose="020B0604020202020204" pitchFamily="34" charset="0"/>
              <a:ea typeface="ＭＳ Ｐゴシック" pitchFamily="34" charset="-128"/>
              <a:cs typeface="Arial" panose="020B0604020202020204" pitchFamily="34" charset="0"/>
            </a:endParaRPr>
          </a:p>
        </p:txBody>
      </p:sp>
      <p:sp>
        <p:nvSpPr>
          <p:cNvPr id="2" name="Espace réservé du contenu 1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9" name="Picture 2" descr="Z:\Social Room\Social Box\Social Stick (2).JP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auto">
          <a:xfrm>
            <a:off x="4572000" y="0"/>
            <a:ext cx="4572000" cy="514349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76912482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0" y="0"/>
            <a:ext cx="4563297" cy="5143500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34290" tIns="17145" rIns="34290" bIns="17145" rtlCol="0" anchor="ctr"/>
          <a:lstStyle/>
          <a:p>
            <a:pPr algn="ctr"/>
            <a:endParaRPr lang="fr-FR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1"/>
          </p:nvPr>
        </p:nvSpPr>
        <p:spPr/>
        <p:txBody>
          <a:bodyPr>
            <a:normAutofit/>
          </a:bodyPr>
          <a:lstStyle/>
          <a:p>
            <a:pPr>
              <a:buFont typeface="Wingdings" panose="05000000000000000000" pitchFamily="2" charset="2"/>
              <a:buChar char="ü"/>
            </a:pPr>
            <a:r>
              <a:rPr lang="fr-FR" sz="2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ata </a:t>
            </a:r>
            <a:r>
              <a:rPr lang="fr-FR" sz="2400" b="1" dirty="0" err="1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cientists</a:t>
            </a:r>
            <a:r>
              <a:rPr lang="fr-FR" sz="2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, </a:t>
            </a:r>
          </a:p>
          <a:p>
            <a:pPr>
              <a:buFont typeface="Wingdings" panose="05000000000000000000" pitchFamily="2" charset="2"/>
              <a:buChar char="ü"/>
            </a:pPr>
            <a:r>
              <a:rPr lang="fr-FR" sz="2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Data </a:t>
            </a:r>
            <a:r>
              <a:rPr lang="fr-FR" sz="2400" b="1" dirty="0" err="1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Analyst</a:t>
            </a:r>
            <a:endParaRPr lang="fr-FR" sz="24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fr-FR" sz="2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Social Media </a:t>
            </a:r>
            <a:r>
              <a:rPr lang="fr-FR" sz="2400" b="1" dirty="0" err="1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Researcher</a:t>
            </a:r>
            <a:endParaRPr lang="fr-FR" sz="24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fr-FR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e-Influence </a:t>
            </a:r>
            <a:endParaRPr lang="fr-FR" sz="2400" b="1" dirty="0">
              <a:solidFill>
                <a:schemeClr val="bg1"/>
              </a:solidFill>
              <a:latin typeface="Arial" charset="0"/>
              <a:ea typeface="Arial" charset="0"/>
              <a:cs typeface="Arial" charset="0"/>
            </a:endParaRPr>
          </a:p>
          <a:p>
            <a:pPr>
              <a:buFont typeface="Wingdings" panose="05000000000000000000" pitchFamily="2" charset="2"/>
              <a:buChar char="ü"/>
            </a:pPr>
            <a:r>
              <a:rPr lang="fr-FR" sz="2400" b="1" dirty="0" err="1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Community</a:t>
            </a:r>
            <a:r>
              <a:rPr lang="fr-FR" sz="2400" b="1" dirty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 </a:t>
            </a:r>
            <a:r>
              <a:rPr lang="fr-FR" sz="2400" b="1" dirty="0" smtClean="0">
                <a:solidFill>
                  <a:schemeClr val="bg1"/>
                </a:solidFill>
                <a:latin typeface="Arial" charset="0"/>
                <a:ea typeface="Arial" charset="0"/>
                <a:cs typeface="Arial" charset="0"/>
              </a:rPr>
              <a:t>Manager</a:t>
            </a:r>
            <a:endParaRPr lang="fr-FR" sz="2400" dirty="0">
              <a:solidFill>
                <a:schemeClr val="bg1"/>
              </a:solidFill>
            </a:endParaRPr>
          </a:p>
        </p:txBody>
      </p:sp>
      <p:pic>
        <p:nvPicPr>
          <p:cNvPr id="5" name="Image 4"/>
          <p:cNvPicPr>
            <a:picLocks noChangeAspect="1"/>
          </p:cNvPicPr>
          <p:nvPr/>
        </p:nvPicPr>
        <p:blipFill>
          <a:blip r:embed="rId2" cstate="email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71702" y="0"/>
            <a:ext cx="4572298" cy="5143500"/>
          </a:xfrm>
          <a:prstGeom prst="rect">
            <a:avLst/>
          </a:prstGeom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/>
              <a:t>Les métiers </a:t>
            </a:r>
            <a:r>
              <a:rPr lang="fr-FR" dirty="0" smtClean="0"/>
              <a:t>d'une #</a:t>
            </a:r>
            <a:r>
              <a:rPr lang="fr-FR" dirty="0" err="1" smtClean="0"/>
              <a:t>SocialRoom</a:t>
            </a:r>
            <a:r>
              <a:rPr lang="fr-FR" dirty="0" smtClean="0"/>
              <a:t> 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9885814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0178" name="Picture 2" descr="Image Caption"/>
          <p:cNvPicPr>
            <a:picLocks noChangeAspect="1" noChangeArrowheads="1"/>
          </p:cNvPicPr>
          <p:nvPr/>
        </p:nvPicPr>
        <p:blipFill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re 4"/>
          <p:cNvSpPr>
            <a:spLocks noGrp="1"/>
          </p:cNvSpPr>
          <p:nvPr>
            <p:ph type="ctrTitle"/>
          </p:nvPr>
        </p:nvSpPr>
        <p:spPr>
          <a:xfrm>
            <a:off x="685800" y="0"/>
            <a:ext cx="7772400" cy="2283718"/>
          </a:xfrm>
        </p:spPr>
        <p:txBody>
          <a:bodyPr>
            <a:noAutofit/>
          </a:bodyPr>
          <a:lstStyle/>
          <a:p>
            <a:r>
              <a:rPr lang="fr-FR" sz="6600" dirty="0">
                <a:solidFill>
                  <a:schemeClr val="bg1"/>
                </a:solidFill>
              </a:rPr>
              <a:t>Les outils d'une #</a:t>
            </a:r>
            <a:r>
              <a:rPr lang="fr-FR" sz="6600" dirty="0" err="1">
                <a:solidFill>
                  <a:schemeClr val="bg1"/>
                </a:solidFill>
              </a:rPr>
              <a:t>SocialRoom</a:t>
            </a:r>
            <a:endParaRPr lang="fr-FR" sz="6600" dirty="0">
              <a:solidFill>
                <a:schemeClr val="bg1"/>
              </a:solidFill>
            </a:endParaRPr>
          </a:p>
        </p:txBody>
      </p:sp>
      <p:sp>
        <p:nvSpPr>
          <p:cNvPr id="9" name="Sous-titre 8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176557827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921365736"/>
              </p:ext>
            </p:extLst>
          </p:nvPr>
        </p:nvGraphicFramePr>
        <p:xfrm>
          <a:off x="1192" y="1192"/>
          <a:ext cx="1190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9298" name="Diapositive think-cell" r:id="rId5" imgW="270" imgH="270" progId="TCLayout.ActiveDocument.1">
                  <p:embed/>
                </p:oleObj>
              </mc:Choice>
              <mc:Fallback>
                <p:oleObj name="Diapositive think-cell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192" y="1192"/>
                        <a:ext cx="1190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re 1"/>
          <p:cNvSpPr txBox="1">
            <a:spLocks/>
          </p:cNvSpPr>
          <p:nvPr/>
        </p:nvSpPr>
        <p:spPr>
          <a:xfrm>
            <a:off x="137412" y="51470"/>
            <a:ext cx="9006588" cy="47422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fr-FR"/>
            </a:defPPr>
            <a:lvl1pPr>
              <a:lnSpc>
                <a:spcPts val="4400"/>
              </a:lnSpc>
              <a:spcBef>
                <a:spcPct val="0"/>
              </a:spcBef>
              <a:buNone/>
              <a:defRPr sz="4000" b="1">
                <a:solidFill>
                  <a:srgbClr val="F16E00"/>
                </a:solidFill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endParaRPr lang="fr-FR" sz="2000" dirty="0">
              <a:solidFill>
                <a:srgbClr val="FF7900"/>
              </a:solidFill>
            </a:endParaRPr>
          </a:p>
        </p:txBody>
      </p:sp>
      <p:pic>
        <p:nvPicPr>
          <p:cNvPr id="1026" name="Picture 2"/>
          <p:cNvPicPr>
            <a:picLocks noChangeAspect="1" noChangeArrowheads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55539" y="1327611"/>
            <a:ext cx="2314004" cy="153217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Rectangle 20"/>
          <p:cNvSpPr/>
          <p:nvPr/>
        </p:nvSpPr>
        <p:spPr>
          <a:xfrm>
            <a:off x="6327569" y="3054605"/>
            <a:ext cx="2700000" cy="270000"/>
          </a:xfrm>
          <a:prstGeom prst="rect">
            <a:avLst/>
          </a:prstGeom>
          <a:solidFill>
            <a:srgbClr val="60BE85"/>
          </a:solidFill>
          <a:ln w="25400" cap="flat" cmpd="sng" algn="ctr">
            <a:noFill/>
            <a:prstDash val="solid"/>
          </a:ln>
          <a:effectLst/>
        </p:spPr>
        <p:txBody>
          <a:bodyPr lIns="91432" tIns="45716" rIns="91432" bIns="45716" rtlCol="0" anchor="ctr"/>
          <a:lstStyle/>
          <a:p>
            <a:pPr algn="ctr" defTabSz="914310">
              <a:defRPr/>
            </a:pPr>
            <a:r>
              <a:rPr lang="fr-FR" kern="0" dirty="0" smtClean="0">
                <a:solidFill>
                  <a:srgbClr val="FFFFFF"/>
                </a:solidFill>
                <a:latin typeface="Helvetica 75 Bold"/>
              </a:rPr>
              <a:t>Outils de </a:t>
            </a:r>
            <a:r>
              <a:rPr lang="fr-FR" kern="0" dirty="0" err="1" smtClean="0">
                <a:solidFill>
                  <a:srgbClr val="FFFFFF"/>
                </a:solidFill>
                <a:latin typeface="Helvetica 75 Bold"/>
              </a:rPr>
              <a:t>Text</a:t>
            </a:r>
            <a:r>
              <a:rPr lang="fr-FR" kern="0" dirty="0" smtClean="0">
                <a:solidFill>
                  <a:srgbClr val="FFFFFF"/>
                </a:solidFill>
                <a:latin typeface="Helvetica 75 Bold"/>
              </a:rPr>
              <a:t> </a:t>
            </a:r>
            <a:r>
              <a:rPr lang="fr-FR" kern="0" dirty="0" err="1" smtClean="0">
                <a:solidFill>
                  <a:srgbClr val="FFFFFF"/>
                </a:solidFill>
                <a:latin typeface="Helvetica 75 Bold"/>
              </a:rPr>
              <a:t>mining</a:t>
            </a:r>
            <a:endParaRPr lang="fr-FR" kern="0" dirty="0">
              <a:solidFill>
                <a:srgbClr val="FFFFFF"/>
              </a:solidFill>
              <a:latin typeface="Helvetica 75 Bold"/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143508" y="1003572"/>
            <a:ext cx="2700000" cy="270000"/>
          </a:xfrm>
          <a:prstGeom prst="rect">
            <a:avLst/>
          </a:prstGeom>
          <a:solidFill>
            <a:srgbClr val="FF7900"/>
          </a:solidFill>
          <a:ln w="25400" cap="flat" cmpd="sng" algn="ctr">
            <a:noFill/>
            <a:prstDash val="solid"/>
          </a:ln>
          <a:effectLst/>
        </p:spPr>
        <p:txBody>
          <a:bodyPr lIns="91432" tIns="45716" rIns="91432" bIns="45716" rtlCol="0" anchor="ctr"/>
          <a:lstStyle/>
          <a:p>
            <a:pPr algn="ctr" defTabSz="914310">
              <a:defRPr/>
            </a:pPr>
            <a:r>
              <a:rPr lang="fr-FR" kern="0" dirty="0" smtClean="0">
                <a:solidFill>
                  <a:srgbClr val="FFFFFF"/>
                </a:solidFill>
                <a:latin typeface="Helvetica 75 Bold"/>
              </a:rPr>
              <a:t>Collecte</a:t>
            </a:r>
            <a:endParaRPr lang="fr-FR" kern="0" dirty="0">
              <a:solidFill>
                <a:srgbClr val="FFFFFF"/>
              </a:solidFill>
              <a:latin typeface="Helvetica 75 Bold"/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3229683" y="1003572"/>
            <a:ext cx="2700000" cy="270000"/>
          </a:xfrm>
          <a:prstGeom prst="rect">
            <a:avLst/>
          </a:prstGeom>
          <a:solidFill>
            <a:srgbClr val="5BB4E9"/>
          </a:solidFill>
          <a:ln w="25400" cap="flat" cmpd="sng" algn="ctr">
            <a:noFill/>
            <a:prstDash val="solid"/>
          </a:ln>
          <a:effectLst/>
        </p:spPr>
        <p:txBody>
          <a:bodyPr lIns="91432" tIns="45716" rIns="91432" bIns="45716" rtlCol="0" anchor="ctr"/>
          <a:lstStyle/>
          <a:p>
            <a:pPr algn="ctr" defTabSz="914310">
              <a:defRPr/>
            </a:pPr>
            <a:r>
              <a:rPr lang="fr-FR" kern="0" dirty="0" smtClean="0">
                <a:solidFill>
                  <a:srgbClr val="FFFFFF"/>
                </a:solidFill>
                <a:latin typeface="Helvetica 75 Bold"/>
              </a:rPr>
              <a:t>Diffusion</a:t>
            </a:r>
            <a:endParaRPr lang="fr-FR" kern="0" dirty="0">
              <a:solidFill>
                <a:srgbClr val="FFFFFF"/>
              </a:solidFill>
              <a:latin typeface="Helvetica 75 Bold"/>
            </a:endParaRPr>
          </a:p>
        </p:txBody>
      </p:sp>
      <p:sp>
        <p:nvSpPr>
          <p:cNvPr id="24" name="Rectangle 23"/>
          <p:cNvSpPr/>
          <p:nvPr/>
        </p:nvSpPr>
        <p:spPr>
          <a:xfrm>
            <a:off x="6278440" y="1003572"/>
            <a:ext cx="2700000" cy="270000"/>
          </a:xfrm>
          <a:prstGeom prst="rect">
            <a:avLst/>
          </a:prstGeom>
          <a:solidFill>
            <a:srgbClr val="FFB4E6"/>
          </a:solidFill>
          <a:ln w="25400" cap="flat" cmpd="sng" algn="ctr">
            <a:noFill/>
            <a:prstDash val="solid"/>
          </a:ln>
          <a:effectLst/>
        </p:spPr>
        <p:txBody>
          <a:bodyPr lIns="91432" tIns="45716" rIns="91432" bIns="45716" rtlCol="0" anchor="ctr"/>
          <a:lstStyle/>
          <a:p>
            <a:pPr algn="ctr" defTabSz="914310">
              <a:defRPr/>
            </a:pPr>
            <a:r>
              <a:rPr lang="fr-FR" kern="0" dirty="0" smtClean="0">
                <a:solidFill>
                  <a:srgbClr val="FFFFFF"/>
                </a:solidFill>
                <a:latin typeface="Helvetica 75 Bold"/>
              </a:rPr>
              <a:t>Analyse &amp; Utilisation</a:t>
            </a:r>
            <a:endParaRPr lang="fr-FR" kern="0" dirty="0">
              <a:solidFill>
                <a:srgbClr val="FFFFFF"/>
              </a:solidFill>
              <a:latin typeface="Helvetica 75 Bold"/>
            </a:endParaRPr>
          </a:p>
        </p:txBody>
      </p:sp>
      <p:sp>
        <p:nvSpPr>
          <p:cNvPr id="25" name="Rectangle 24"/>
          <p:cNvSpPr/>
          <p:nvPr/>
        </p:nvSpPr>
        <p:spPr>
          <a:xfrm>
            <a:off x="3262541" y="3054605"/>
            <a:ext cx="2700000" cy="270000"/>
          </a:xfrm>
          <a:prstGeom prst="rect">
            <a:avLst/>
          </a:prstGeom>
          <a:solidFill>
            <a:srgbClr val="FFD200"/>
          </a:solidFill>
          <a:ln w="25400" cap="flat" cmpd="sng" algn="ctr">
            <a:noFill/>
            <a:prstDash val="solid"/>
          </a:ln>
          <a:effectLst/>
        </p:spPr>
        <p:txBody>
          <a:bodyPr lIns="91432" tIns="45716" rIns="91432" bIns="45716" rtlCol="0" anchor="ctr"/>
          <a:lstStyle/>
          <a:p>
            <a:pPr algn="ctr" defTabSz="914310">
              <a:defRPr/>
            </a:pPr>
            <a:r>
              <a:rPr lang="fr-FR" kern="0" dirty="0" smtClean="0">
                <a:solidFill>
                  <a:srgbClr val="FFFFFF"/>
                </a:solidFill>
                <a:latin typeface="Helvetica 75 Bold"/>
              </a:rPr>
              <a:t>Social Room</a:t>
            </a:r>
            <a:endParaRPr lang="fr-FR" kern="0" dirty="0">
              <a:solidFill>
                <a:srgbClr val="FFFFFF"/>
              </a:solidFill>
              <a:latin typeface="Helvetica 75 Bold"/>
            </a:endParaRPr>
          </a:p>
        </p:txBody>
      </p:sp>
      <p:sp>
        <p:nvSpPr>
          <p:cNvPr id="26" name="Rectangle 25"/>
          <p:cNvSpPr/>
          <p:nvPr/>
        </p:nvSpPr>
        <p:spPr>
          <a:xfrm>
            <a:off x="197514" y="3043426"/>
            <a:ext cx="2700000" cy="270000"/>
          </a:xfrm>
          <a:prstGeom prst="rect">
            <a:avLst/>
          </a:prstGeom>
          <a:solidFill>
            <a:srgbClr val="A885D8"/>
          </a:solidFill>
          <a:ln w="25400" cap="flat" cmpd="sng" algn="ctr">
            <a:noFill/>
            <a:prstDash val="solid"/>
          </a:ln>
          <a:effectLst/>
        </p:spPr>
        <p:txBody>
          <a:bodyPr lIns="91432" tIns="45716" rIns="91432" bIns="45716" rtlCol="0" anchor="ctr"/>
          <a:lstStyle/>
          <a:p>
            <a:pPr algn="ctr" defTabSz="914310">
              <a:defRPr/>
            </a:pPr>
            <a:r>
              <a:rPr lang="fr-FR" kern="0" dirty="0" smtClean="0">
                <a:solidFill>
                  <a:srgbClr val="FFFFFF"/>
                </a:solidFill>
                <a:latin typeface="Helvetica 75 Bold"/>
              </a:rPr>
              <a:t>User Data </a:t>
            </a:r>
            <a:r>
              <a:rPr lang="fr-FR" kern="0" dirty="0" err="1" smtClean="0">
                <a:solidFill>
                  <a:srgbClr val="FFFFFF"/>
                </a:solidFill>
                <a:latin typeface="Helvetica 75 Bold"/>
              </a:rPr>
              <a:t>Study</a:t>
            </a:r>
            <a:endParaRPr lang="fr-FR" kern="0" dirty="0">
              <a:solidFill>
                <a:srgbClr val="FFFFFF"/>
              </a:solidFill>
              <a:latin typeface="Helvetica 75 Bold"/>
            </a:endParaRPr>
          </a:p>
        </p:txBody>
      </p:sp>
      <p:pic>
        <p:nvPicPr>
          <p:cNvPr id="27" name="Picture 2"/>
          <p:cNvPicPr>
            <a:picLocks noChangeAspect="1" noChangeArrowheads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05528" y="1333716"/>
            <a:ext cx="2230339" cy="150608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3314" name="Picture 2"/>
          <p:cNvPicPr>
            <a:picLocks noChangeAspect="1" noChangeArrowheads="1"/>
          </p:cNvPicPr>
          <p:nvPr/>
        </p:nvPicPr>
        <p:blipFill>
          <a:blip r:embed="rId9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71752" y="3378623"/>
            <a:ext cx="2151525" cy="97532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pic>
        <p:nvPicPr>
          <p:cNvPr id="45" name="Picture 2" descr="C:\Users\BKQD0881\Documents\10 SMO\0 Social Intelligence\2 Data Central\Design\SIM_DataCentral_Webdesign\01_HOMEPAGE_v.01.jpg"/>
          <p:cNvPicPr>
            <a:picLocks noChangeAspect="1" noChangeArrowheads="1"/>
          </p:cNvPicPr>
          <p:nvPr/>
        </p:nvPicPr>
        <p:blipFill rotWithShape="1"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84649" y="2154466"/>
            <a:ext cx="939854" cy="34581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6" name="Picture 2" descr="C:\Users\BKQD0881\Documents\10 SMO\0 Social Intelligence\2 Data Central\Design\SIM_DataCentral_Webdesign\01_HOMEPAGE_v.01.jpg"/>
          <p:cNvPicPr>
            <a:picLocks noChangeAspect="1" noChangeArrowheads="1"/>
          </p:cNvPicPr>
          <p:nvPr/>
        </p:nvPicPr>
        <p:blipFill rotWithShape="1"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73552" y="1765091"/>
            <a:ext cx="1062744" cy="35015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7" name="Picture 2" descr="C:\Users\BKQD0881\Documents\10 SMO\0 Social Intelligence\2 Data Central\Design\SIM_DataCentral_Webdesign\01_HOMEPAGE_v.01.jpg"/>
          <p:cNvPicPr>
            <a:picLocks noChangeAspect="1" noChangeArrowheads="1"/>
          </p:cNvPicPr>
          <p:nvPr/>
        </p:nvPicPr>
        <p:blipFill rotWithShape="1">
          <a:blip r:embed="rId1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184651" y="1435622"/>
            <a:ext cx="897461" cy="3294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3316" name="Picture 4"/>
          <p:cNvPicPr>
            <a:picLocks noChangeAspect="1" noChangeArrowheads="1"/>
          </p:cNvPicPr>
          <p:nvPr/>
        </p:nvPicPr>
        <p:blipFill rotWithShape="1">
          <a:blip r:embed="rId1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151001" y="1437261"/>
            <a:ext cx="1839367" cy="112163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51" name="Rectangle 50"/>
          <p:cNvSpPr/>
          <p:nvPr/>
        </p:nvSpPr>
        <p:spPr>
          <a:xfrm>
            <a:off x="6354198" y="4617350"/>
            <a:ext cx="2624242" cy="223136"/>
          </a:xfrm>
          <a:prstGeom prst="rect">
            <a:avLst/>
          </a:prstGeom>
          <a:solidFill>
            <a:schemeClr val="bg1"/>
          </a:solidFill>
        </p:spPr>
        <p:txBody>
          <a:bodyPr wrap="square" lIns="68577" tIns="34289" rIns="68577" bIns="34289">
            <a:spAutoFit/>
          </a:bodyPr>
          <a:lstStyle/>
          <a:p>
            <a:pPr marL="133344" indent="-133344">
              <a:spcBef>
                <a:spcPts val="225"/>
              </a:spcBef>
              <a:buFont typeface="Arial" panose="020B0604020202020204" pitchFamily="34" charset="0"/>
              <a:buChar char="•"/>
            </a:pPr>
            <a:endParaRPr lang="fr-FR" sz="1000" dirty="0">
              <a:solidFill>
                <a:srgbClr val="000000"/>
              </a:solidFill>
              <a:latin typeface="Helvetica 75 Bold"/>
            </a:endParaRPr>
          </a:p>
        </p:txBody>
      </p:sp>
      <p:grpSp>
        <p:nvGrpSpPr>
          <p:cNvPr id="29" name="Groupe 28"/>
          <p:cNvGrpSpPr/>
          <p:nvPr/>
        </p:nvGrpSpPr>
        <p:grpSpPr>
          <a:xfrm>
            <a:off x="6897760" y="3431348"/>
            <a:ext cx="1732421" cy="954773"/>
            <a:chOff x="251520" y="932287"/>
            <a:chExt cx="4104456" cy="3079623"/>
          </a:xfrm>
        </p:grpSpPr>
        <p:pic>
          <p:nvPicPr>
            <p:cNvPr id="31" name="Picture 2" descr="I:\PROJETS_PROGRAMMES\DTCRM&amp;DA\CRM Orange France 2015\02 - VisualCRM\12 Design\VCRM_20170803\Page_Login_Mdp.png"/>
            <p:cNvPicPr>
              <a:picLocks noChangeAspect="1" noChangeArrowheads="1"/>
            </p:cNvPicPr>
            <p:nvPr/>
          </p:nvPicPr>
          <p:blipFill>
            <a:blip r:embed="rId14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51520" y="932287"/>
              <a:ext cx="4104456" cy="3079623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>
              <a:reflection blurRad="12700" stA="38000" endPos="28000" dist="5000" dir="5400000" sy="-100000" algn="bl" rotWithShape="0"/>
            </a:effectLst>
            <a:extLst/>
          </p:spPr>
        </p:pic>
        <p:pic>
          <p:nvPicPr>
            <p:cNvPr id="34" name="Picture 2"/>
            <p:cNvPicPr>
              <a:picLocks noChangeAspect="1" noChangeArrowheads="1"/>
            </p:cNvPicPr>
            <p:nvPr/>
          </p:nvPicPr>
          <p:blipFill>
            <a:blip r:embed="rId15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27584" y="1395546"/>
              <a:ext cx="3312368" cy="2616364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</a:extLst>
          </p:spPr>
        </p:pic>
      </p:grpSp>
      <p:pic>
        <p:nvPicPr>
          <p:cNvPr id="39991" name="Picture 55" descr="Définition : Social media room » Définitions marketing"/>
          <p:cNvPicPr>
            <a:picLocks noChangeAspect="1" noChangeArrowheads="1"/>
          </p:cNvPicPr>
          <p:nvPr/>
        </p:nvPicPr>
        <p:blipFill>
          <a:blip r:embed="rId1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483704" y="3431348"/>
            <a:ext cx="2314004" cy="13533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Outils de Collecte et d’analys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71609478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re 4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Avec le Social </a:t>
            </a:r>
            <a:r>
              <a:rPr lang="fr-FR" dirty="0" smtClean="0"/>
              <a:t>Listening</a:t>
            </a:r>
            <a:endParaRPr lang="fr-FR" dirty="0"/>
          </a:p>
        </p:txBody>
      </p:sp>
      <p:sp>
        <p:nvSpPr>
          <p:cNvPr id="2" name="Espace réservé de la date 1"/>
          <p:cNvSpPr>
            <a:spLocks noGrp="1"/>
          </p:cNvSpPr>
          <p:nvPr>
            <p:ph type="dt" sz="half" idx="4294967295"/>
          </p:nvPr>
        </p:nvSpPr>
        <p:spPr>
          <a:xfrm>
            <a:off x="0" y="4767263"/>
            <a:ext cx="2133600" cy="274637"/>
          </a:xfrm>
        </p:spPr>
        <p:txBody>
          <a:bodyPr/>
          <a:lstStyle/>
          <a:p>
            <a:fld id="{22714818-984F-4759-BF72-A33BDC1963BD}" type="datetime1">
              <a:rPr lang="en-US" smtClean="0"/>
              <a:pPr/>
              <a:t>12/4/2018</a:t>
            </a:fld>
            <a:endParaRPr lang="en-US"/>
          </a:p>
        </p:txBody>
      </p:sp>
      <p:sp>
        <p:nvSpPr>
          <p:cNvPr id="4" name="Espace réservé du numéro de diapositive 3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7263"/>
            <a:ext cx="2133600" cy="274637"/>
          </a:xfrm>
        </p:spPr>
        <p:txBody>
          <a:bodyPr/>
          <a:lstStyle/>
          <a:p>
            <a:fld id="{687D7A59-36E2-48B9-B146-C1E59501F63F}" type="slidenum">
              <a:rPr lang="en-US" smtClean="0"/>
              <a:pPr/>
              <a:t>26</a:t>
            </a:fld>
            <a:endParaRPr lang="en-US"/>
          </a:p>
        </p:txBody>
      </p:sp>
      <p:sp>
        <p:nvSpPr>
          <p:cNvPr id="7" name="AutoShape 2" descr="derek hough nbc GIF by Hairspray Live!"/>
          <p:cNvSpPr>
            <a:spLocks noChangeAspect="1" noChangeArrowheads="1"/>
          </p:cNvSpPr>
          <p:nvPr/>
        </p:nvSpPr>
        <p:spPr bwMode="auto">
          <a:xfrm>
            <a:off x="155575" y="-144463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0" name="AutoShape 7" descr="derek hough nbc GIF by Hairspray Live!"/>
          <p:cNvSpPr>
            <a:spLocks noChangeAspect="1" noChangeArrowheads="1"/>
          </p:cNvSpPr>
          <p:nvPr/>
        </p:nvSpPr>
        <p:spPr bwMode="auto">
          <a:xfrm>
            <a:off x="307975" y="79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1" name="AutoShape 9" descr="derek hough nbc GIF by Hairspray Live!"/>
          <p:cNvSpPr>
            <a:spLocks noChangeAspect="1" noChangeArrowheads="1"/>
          </p:cNvSpPr>
          <p:nvPr/>
        </p:nvSpPr>
        <p:spPr bwMode="auto">
          <a:xfrm>
            <a:off x="460375" y="1603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2" name="AutoShape 11" descr="derek hough nbc GIF by Hairspray Live!"/>
          <p:cNvSpPr>
            <a:spLocks noChangeAspect="1" noChangeArrowheads="1"/>
          </p:cNvSpPr>
          <p:nvPr/>
        </p:nvSpPr>
        <p:spPr bwMode="auto">
          <a:xfrm>
            <a:off x="612775" y="312737"/>
            <a:ext cx="304800" cy="3048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14" name="Espace réservé du contenu 13"/>
          <p:cNvSpPr>
            <a:spLocks noGrp="1"/>
          </p:cNvSpPr>
          <p:nvPr>
            <p:ph sz="half" idx="2"/>
          </p:nvPr>
        </p:nvSpPr>
        <p:spPr/>
        <p:txBody>
          <a:bodyPr anchor="ctr">
            <a:normAutofit/>
          </a:bodyPr>
          <a:lstStyle/>
          <a:p>
            <a:pPr marL="0" indent="0">
              <a:buNone/>
            </a:pPr>
            <a:r>
              <a:rPr lang="fr-FR" sz="6600" dirty="0"/>
              <a:t>Surveiller ?</a:t>
            </a:r>
            <a:br>
              <a:rPr lang="fr-FR" sz="6600" dirty="0"/>
            </a:br>
            <a:r>
              <a:rPr lang="fr-FR" sz="6600" dirty="0"/>
              <a:t>Analyser ? </a:t>
            </a:r>
            <a:br>
              <a:rPr lang="fr-FR" sz="6600" dirty="0"/>
            </a:br>
            <a:r>
              <a:rPr lang="fr-FR" sz="6600" dirty="0"/>
              <a:t>Protéger ? </a:t>
            </a:r>
            <a:br>
              <a:rPr lang="fr-FR" sz="6600" dirty="0"/>
            </a:br>
            <a:r>
              <a:rPr lang="fr-FR" sz="6600" dirty="0"/>
              <a:t>Influencer </a:t>
            </a:r>
            <a:r>
              <a:rPr lang="fr-FR" sz="6600" dirty="0" smtClean="0"/>
              <a:t>?</a:t>
            </a:r>
            <a:endParaRPr lang="fr-FR" sz="6600" dirty="0"/>
          </a:p>
        </p:txBody>
      </p:sp>
    </p:spTree>
    <p:extLst>
      <p:ext uri="{BB962C8B-B14F-4D97-AF65-F5344CB8AC3E}">
        <p14:creationId xmlns:p14="http://schemas.microsoft.com/office/powerpoint/2010/main" val="384003080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>
            <a:normAutofit fontScale="90000"/>
          </a:bodyPr>
          <a:lstStyle/>
          <a:p>
            <a:r>
              <a:rPr lang="fr-FR" dirty="0"/>
              <a:t>Une #</a:t>
            </a:r>
            <a:r>
              <a:rPr lang="fr-FR" dirty="0" err="1"/>
              <a:t>SocialRoom</a:t>
            </a:r>
            <a:r>
              <a:rPr lang="fr-FR" dirty="0"/>
              <a:t> à </a:t>
            </a:r>
            <a:r>
              <a:rPr lang="fr-FR" dirty="0" smtClean="0"/>
              <a:t>l’EGE ?</a:t>
            </a:r>
            <a:endParaRPr lang="fr-FR" dirty="0"/>
          </a:p>
        </p:txBody>
      </p:sp>
      <p:graphicFrame>
        <p:nvGraphicFramePr>
          <p:cNvPr id="5" name="Espace réservé du contenu 4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847538350"/>
              </p:ext>
            </p:extLst>
          </p:nvPr>
        </p:nvGraphicFramePr>
        <p:xfrm>
          <a:off x="468313" y="1131888"/>
          <a:ext cx="8229600" cy="4011612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sp>
        <p:nvSpPr>
          <p:cNvPr id="6" name="AutoShape 2" descr="Ear on Google Android 9.0"/>
          <p:cNvSpPr>
            <a:spLocks noChangeAspect="1" noChangeArrowheads="1"/>
          </p:cNvSpPr>
          <p:nvPr/>
        </p:nvSpPr>
        <p:spPr bwMode="auto">
          <a:xfrm>
            <a:off x="155575" y="-547688"/>
            <a:ext cx="1143000" cy="114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7" name="AutoShape 4" descr="Ear on Google Android 9.0"/>
          <p:cNvSpPr>
            <a:spLocks noChangeAspect="1" noChangeArrowheads="1"/>
          </p:cNvSpPr>
          <p:nvPr/>
        </p:nvSpPr>
        <p:spPr bwMode="auto">
          <a:xfrm>
            <a:off x="307975" y="-395288"/>
            <a:ext cx="1143000" cy="114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70710085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Espace réservé du contenu 12"/>
          <p:cNvPicPr>
            <a:picLocks noGrp="1" noChangeAspect="1"/>
          </p:cNvPicPr>
          <p:nvPr>
            <p:ph idx="1"/>
          </p:nvPr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0"/>
            <a:ext cx="9144000" cy="5143500"/>
          </a:xfrm>
        </p:spPr>
      </p:pic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5220072" y="205979"/>
            <a:ext cx="3466728" cy="3733923"/>
          </a:xfrm>
        </p:spPr>
        <p:txBody>
          <a:bodyPr>
            <a:normAutofit/>
          </a:bodyPr>
          <a:lstStyle/>
          <a:p>
            <a:r>
              <a:rPr lang="fr-FR" sz="7200" dirty="0" smtClean="0">
                <a:solidFill>
                  <a:schemeClr val="bg1"/>
                </a:solidFill>
              </a:rPr>
              <a:t>C’est à vous !</a:t>
            </a:r>
            <a:endParaRPr lang="fr-FR" sz="7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5886076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2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fr-FR" dirty="0" smtClean="0"/>
              <a:t>Pour aller plus loin</a:t>
            </a:r>
            <a:endParaRPr lang="fr-FR" dirty="0"/>
          </a:p>
        </p:txBody>
      </p:sp>
      <p:sp>
        <p:nvSpPr>
          <p:cNvPr id="3" name="Espace réservé du contenu 2"/>
          <p:cNvSpPr>
            <a:spLocks noGrp="1"/>
          </p:cNvSpPr>
          <p:nvPr>
            <p:ph sz="half" idx="2"/>
          </p:nvPr>
        </p:nvSpPr>
        <p:spPr/>
        <p:txBody>
          <a:bodyPr anchor="ctr"/>
          <a:lstStyle/>
          <a:p>
            <a:r>
              <a:rPr lang="fr-FR" b="1" dirty="0">
                <a:hlinkClick r:id="rId2"/>
              </a:rPr>
              <a:t>La manipulation des émotions sur les réseaux sociaux est une réalité, l’EGE sur </a:t>
            </a:r>
            <a:r>
              <a:rPr lang="fr-FR" b="1" dirty="0" err="1">
                <a:hlinkClick r:id="rId2"/>
              </a:rPr>
              <a:t>FrenchWeb</a:t>
            </a:r>
            <a:r>
              <a:rPr lang="fr-FR" b="1" dirty="0">
                <a:hlinkClick r:id="rId2"/>
              </a:rPr>
              <a:t> </a:t>
            </a:r>
            <a:endParaRPr lang="fr-FR" b="1" dirty="0" smtClean="0"/>
          </a:p>
          <a:p>
            <a:endParaRPr lang="fr-FR" b="1" dirty="0" smtClean="0"/>
          </a:p>
          <a:p>
            <a:r>
              <a:rPr lang="fr-FR" b="1" dirty="0" smtClean="0">
                <a:hlinkClick r:id="rId3"/>
              </a:rPr>
              <a:t>Visite 3D de la Social Room</a:t>
            </a:r>
            <a:endParaRPr lang="fr-FR" b="1" dirty="0" smtClean="0"/>
          </a:p>
          <a:p>
            <a:r>
              <a:rPr lang="fr-FR" b="1" dirty="0" smtClean="0">
                <a:hlinkClick r:id="rId4"/>
              </a:rPr>
              <a:t>#</a:t>
            </a:r>
            <a:r>
              <a:rPr lang="fr-FR" b="1" dirty="0" err="1" smtClean="0">
                <a:hlinkClick r:id="rId4"/>
              </a:rPr>
              <a:t>SocialListening</a:t>
            </a:r>
            <a:r>
              <a:rPr lang="fr-FR" b="1" dirty="0" smtClean="0"/>
              <a:t> medium </a:t>
            </a:r>
            <a:endParaRPr lang="fr-FR" b="1" dirty="0"/>
          </a:p>
        </p:txBody>
      </p:sp>
    </p:spTree>
    <p:extLst>
      <p:ext uri="{BB962C8B-B14F-4D97-AF65-F5344CB8AC3E}">
        <p14:creationId xmlns:p14="http://schemas.microsoft.com/office/powerpoint/2010/main" val="1441909293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0724" name="Picture 4" descr="Pamela Draughn, who decoded German messages, still remembers one from D Day, which read: 'We're fleeing from  all sides the on-flowing enemy!' She said it was clear the Nazis were in a 'complete panic'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144664" y="838199"/>
            <a:ext cx="6038850" cy="43053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722" name="Picture 2" descr="World War II: Bletchley Park | GCHQ Site"/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5156" y="-12154"/>
            <a:ext cx="5429250" cy="3619500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  <a:extLst/>
        </p:spPr>
      </p:pic>
      <p:sp>
        <p:nvSpPr>
          <p:cNvPr id="2" name="Titr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r>
              <a:rPr lang="fr-FR" dirty="0" err="1" smtClean="0">
                <a:solidFill>
                  <a:schemeClr val="bg1"/>
                </a:solidFill>
              </a:rPr>
              <a:t>Bletchey</a:t>
            </a:r>
            <a:r>
              <a:rPr lang="fr-FR" dirty="0" smtClean="0">
                <a:solidFill>
                  <a:schemeClr val="bg1"/>
                </a:solidFill>
              </a:rPr>
              <a:t> Park</a:t>
            </a:r>
            <a:endParaRPr lang="fr-FR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51047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re 1"/>
          <p:cNvSpPr txBox="1">
            <a:spLocks/>
          </p:cNvSpPr>
          <p:nvPr/>
        </p:nvSpPr>
        <p:spPr>
          <a:xfrm>
            <a:off x="251224" y="222647"/>
            <a:ext cx="7934835" cy="3620010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defPPr>
              <a:defRPr lang="fr-FR"/>
            </a:defPPr>
            <a:lvl1pPr marR="0" lvl="0" indent="0" fontAlgn="auto">
              <a:lnSpc>
                <a:spcPts val="6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6000" b="1" i="0" u="none" strike="noStrike" cap="none" spc="0" normalizeH="0" baseline="0">
                <a:ln>
                  <a:noFill/>
                </a:ln>
                <a:solidFill>
                  <a:sysClr val="window" lastClr="FFFFFF"/>
                </a:solidFill>
                <a:effectLst/>
                <a:uLnTx/>
                <a:uFillTx/>
                <a:latin typeface="Helvetica" charset="0"/>
                <a:ea typeface="Helvetica" charset="0"/>
                <a:cs typeface="Helvetica" charset="0"/>
              </a:defRPr>
            </a:lvl1pPr>
          </a:lstStyle>
          <a:p>
            <a:pPr defTabSz="685783"/>
            <a:endParaRPr lang="fr-FR" dirty="0">
              <a:ln>
                <a:solidFill>
                  <a:prstClr val="black">
                    <a:lumMod val="85000"/>
                    <a:lumOff val="15000"/>
                  </a:prstClr>
                </a:solidFill>
              </a:ln>
              <a:solidFill>
                <a:srgbClr val="F16E00"/>
              </a:solidFill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/>
          <a:p>
            <a:pPr rtl="0" fontAlgn="base"/>
            <a:r>
              <a:rPr lang="fr-FR" dirty="0"/>
              <a:t>Les Réseaux Sociaux sont le plus grands focus groupe du </a:t>
            </a:r>
            <a:r>
              <a:rPr lang="fr-FR" dirty="0" smtClean="0"/>
              <a:t>monde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6589735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Diagramme 2"/>
          <p:cNvGraphicFramePr/>
          <p:nvPr>
            <p:extLst>
              <p:ext uri="{D42A27DB-BD31-4B8C-83A1-F6EECF244321}">
                <p14:modId xmlns:p14="http://schemas.microsoft.com/office/powerpoint/2010/main" val="1197289642"/>
              </p:ext>
            </p:extLst>
          </p:nvPr>
        </p:nvGraphicFramePr>
        <p:xfrm>
          <a:off x="4571702" y="539750"/>
          <a:ext cx="4320778" cy="40640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4" name="Titre 3"/>
          <p:cNvSpPr>
            <a:spLocks noGrp="1"/>
          </p:cNvSpPr>
          <p:nvPr>
            <p:ph type="title"/>
          </p:nvPr>
        </p:nvSpPr>
        <p:spPr>
          <a:xfrm>
            <a:off x="251520" y="1131590"/>
            <a:ext cx="4320182" cy="2954655"/>
          </a:xfrm>
        </p:spPr>
        <p:txBody>
          <a:bodyPr vert="horz" wrap="square" lIns="0" tIns="0" rIns="0" bIns="0" anchor="t" anchorCtr="0">
            <a:spAutoFit/>
          </a:bodyPr>
          <a:lstStyle/>
          <a:p>
            <a:r>
              <a:rPr lang="fr-FR" sz="4800" dirty="0" smtClean="0">
                <a:latin typeface="Arial" charset="0"/>
                <a:ea typeface="Arial" charset="0"/>
                <a:cs typeface="Arial" charset="0"/>
              </a:rPr>
              <a:t>Le </a:t>
            </a:r>
            <a:r>
              <a:rPr lang="fr-FR" sz="4800" dirty="0">
                <a:latin typeface="Arial" charset="0"/>
                <a:ea typeface="Arial" charset="0"/>
                <a:cs typeface="Arial" charset="0"/>
              </a:rPr>
              <a:t>nombre de conversations </a:t>
            </a:r>
            <a:br>
              <a:rPr lang="fr-FR" sz="4800" dirty="0">
                <a:latin typeface="Arial" charset="0"/>
                <a:ea typeface="Arial" charset="0"/>
                <a:cs typeface="Arial" charset="0"/>
              </a:rPr>
            </a:br>
            <a:r>
              <a:rPr lang="fr-FR" sz="4800" dirty="0">
                <a:latin typeface="Arial" charset="0"/>
                <a:ea typeface="Arial" charset="0"/>
                <a:cs typeface="Arial" charset="0"/>
              </a:rPr>
              <a:t>sur le web </a:t>
            </a:r>
            <a:r>
              <a:rPr lang="fr-FR" sz="4800" dirty="0" smtClean="0">
                <a:latin typeface="Arial" charset="0"/>
                <a:ea typeface="Arial" charset="0"/>
                <a:cs typeface="Arial" charset="0"/>
              </a:rPr>
              <a:t>explose !</a:t>
            </a:r>
            <a:endParaRPr lang="fr-FR" sz="4800" b="1" baseline="30000" dirty="0">
              <a:latin typeface="Arial" charset="0"/>
              <a:ea typeface="Arial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6537097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re 6"/>
          <p:cNvSpPr>
            <a:spLocks noGrp="1"/>
          </p:cNvSpPr>
          <p:nvPr>
            <p:ph type="title"/>
          </p:nvPr>
        </p:nvSpPr>
        <p:spPr>
          <a:xfrm>
            <a:off x="0" y="0"/>
            <a:ext cx="4572000" cy="5143500"/>
          </a:xfrm>
        </p:spPr>
        <p:txBody>
          <a:bodyPr>
            <a:normAutofit fontScale="90000"/>
          </a:bodyPr>
          <a:lstStyle/>
          <a:p>
            <a:r>
              <a:rPr lang="fr-FR" dirty="0" smtClean="0">
                <a:latin typeface="Courier" pitchFamily="49" charset="0"/>
              </a:rPr>
              <a:t>« Il </a:t>
            </a:r>
            <a:r>
              <a:rPr lang="fr-FR" dirty="0">
                <a:latin typeface="Courier" pitchFamily="49" charset="0"/>
              </a:rPr>
              <a:t>y a bascule paradigmatique de la représentativité à l’exhaustivité, là où un panel propose 1000 personnes, le #</a:t>
            </a:r>
            <a:r>
              <a:rPr lang="fr-FR" dirty="0" err="1" smtClean="0">
                <a:latin typeface="Courier" pitchFamily="49" charset="0"/>
              </a:rPr>
              <a:t>SocialListening</a:t>
            </a:r>
            <a:r>
              <a:rPr lang="fr-FR" dirty="0" smtClean="0">
                <a:latin typeface="Courier" pitchFamily="49" charset="0"/>
              </a:rPr>
              <a:t> </a:t>
            </a:r>
            <a:r>
              <a:rPr lang="fr-FR" dirty="0">
                <a:latin typeface="Courier" pitchFamily="49" charset="0"/>
              </a:rPr>
              <a:t>aligne 100M de </a:t>
            </a:r>
            <a:r>
              <a:rPr lang="fr-FR" dirty="0" smtClean="0">
                <a:latin typeface="Courier" pitchFamily="49" charset="0"/>
              </a:rPr>
              <a:t>verbatim »</a:t>
            </a:r>
            <a:endParaRPr lang="fr-FR" dirty="0">
              <a:latin typeface="Courier" pitchFamily="49" charset="0"/>
            </a:endParaRPr>
          </a:p>
        </p:txBody>
      </p:sp>
      <p:sp>
        <p:nvSpPr>
          <p:cNvPr id="6" name="Espace réservé du numéro de diapositive 5"/>
          <p:cNvSpPr>
            <a:spLocks noGrp="1"/>
          </p:cNvSpPr>
          <p:nvPr>
            <p:ph type="sldNum" sz="quarter" idx="4294967295"/>
          </p:nvPr>
        </p:nvSpPr>
        <p:spPr>
          <a:xfrm>
            <a:off x="7010400" y="4767263"/>
            <a:ext cx="2133600" cy="274637"/>
          </a:xfrm>
        </p:spPr>
        <p:txBody>
          <a:bodyPr/>
          <a:lstStyle/>
          <a:p>
            <a:fld id="{687D7A59-36E2-48B9-B146-C1E59501F63F}" type="slidenum">
              <a:rPr lang="en-US" smtClean="0"/>
              <a:pPr/>
              <a:t>6</a:t>
            </a:fld>
            <a:endParaRPr lang="en-US"/>
          </a:p>
        </p:txBody>
      </p:sp>
      <p:sp>
        <p:nvSpPr>
          <p:cNvPr id="2" name="AutoShape 2" descr="Person Shrugging on Google Android 9.0"/>
          <p:cNvSpPr>
            <a:spLocks noChangeAspect="1" noChangeArrowheads="1"/>
          </p:cNvSpPr>
          <p:nvPr/>
        </p:nvSpPr>
        <p:spPr bwMode="auto">
          <a:xfrm>
            <a:off x="155575" y="-547688"/>
            <a:ext cx="1143000" cy="114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sp>
        <p:nvSpPr>
          <p:cNvPr id="9" name="AutoShape 7" descr="Man Shrugging on Google Android 9.0"/>
          <p:cNvSpPr>
            <a:spLocks noChangeAspect="1" noChangeArrowheads="1"/>
          </p:cNvSpPr>
          <p:nvPr/>
        </p:nvSpPr>
        <p:spPr bwMode="auto">
          <a:xfrm>
            <a:off x="307975" y="-395288"/>
            <a:ext cx="1143000" cy="11430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fr-FR"/>
          </a:p>
        </p:txBody>
      </p:sp>
      <p:pic>
        <p:nvPicPr>
          <p:cNvPr id="16" name="Espace réservé du contenu 15"/>
          <p:cNvPicPr>
            <a:picLocks noGrp="1" noChangeAspect="1"/>
          </p:cNvPicPr>
          <p:nvPr>
            <p:ph sz="half" idx="2"/>
          </p:nvPr>
        </p:nvPicPr>
        <p:blipFill>
          <a:blip r:embed="rId2" cstate="email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artisticPencilGrayscale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3296898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="" xmlns:a16="http://schemas.microsoft.com/office/drawing/2014/main" id="{E31797CF-51C7-415F-A0BA-53FDF62C5DD2}"/>
              </a:ext>
            </a:extLst>
          </p:cNvPr>
          <p:cNvSpPr/>
          <p:nvPr/>
        </p:nvSpPr>
        <p:spPr>
          <a:xfrm>
            <a:off x="3111734" y="1108992"/>
            <a:ext cx="2952328" cy="241603"/>
          </a:xfrm>
          <a:prstGeom prst="rect">
            <a:avLst/>
          </a:prstGeom>
        </p:spPr>
        <p:txBody>
          <a:bodyPr wrap="square" lIns="68577" tIns="34289" rIns="68577" bIns="34289">
            <a:spAutoFit/>
          </a:bodyPr>
          <a:lstStyle/>
          <a:p>
            <a:pPr defTabSz="685766" fontAlgn="auto">
              <a:lnSpc>
                <a:spcPct val="80000"/>
              </a:lnSpc>
              <a:spcBef>
                <a:spcPts val="0"/>
              </a:spcBef>
              <a:spcAft>
                <a:spcPts val="900"/>
              </a:spcAft>
            </a:pPr>
            <a:r>
              <a:rPr lang="fr-FR" dirty="0">
                <a:solidFill>
                  <a:prstClr val="black"/>
                </a:solidFill>
                <a:latin typeface="Helvetica 75 Bold" panose="020B0804020202020204" pitchFamily="34" charset="0"/>
              </a:rPr>
              <a:t>120 million messages </a:t>
            </a:r>
            <a:r>
              <a:rPr lang="fr-FR" dirty="0" smtClean="0">
                <a:solidFill>
                  <a:prstClr val="black"/>
                </a:solidFill>
                <a:latin typeface="Helvetica 75 Bold" panose="020B0804020202020204" pitchFamily="34" charset="0"/>
              </a:rPr>
              <a:t>par an</a:t>
            </a:r>
          </a:p>
        </p:txBody>
      </p:sp>
      <p:sp>
        <p:nvSpPr>
          <p:cNvPr id="4" name="AutoShape 4" descr="Résultat de recherche d'images pour &quot;orange&quot;"/>
          <p:cNvSpPr>
            <a:spLocks noChangeAspect="1" noChangeArrowheads="1"/>
          </p:cNvSpPr>
          <p:nvPr/>
        </p:nvSpPr>
        <p:spPr bwMode="auto">
          <a:xfrm>
            <a:off x="116681" y="-108346"/>
            <a:ext cx="228600" cy="22860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68577" tIns="34289" rIns="68577" bIns="34289" numCol="1" anchor="t" anchorCtr="0" compatLnSpc="1">
            <a:prstTxWarp prst="textNoShape">
              <a:avLst/>
            </a:prstTxWarp>
          </a:bodyPr>
          <a:lstStyle/>
          <a:p>
            <a:pPr defTabSz="685766" fontAlgn="auto">
              <a:spcBef>
                <a:spcPts val="0"/>
              </a:spcBef>
              <a:spcAft>
                <a:spcPts val="0"/>
              </a:spcAft>
            </a:pPr>
            <a:endParaRPr lang="fr-FR">
              <a:solidFill>
                <a:prstClr val="black"/>
              </a:solidFill>
              <a:latin typeface="Calibri" panose="020F0502020204030204"/>
            </a:endParaRPr>
          </a:p>
        </p:txBody>
      </p:sp>
      <p:sp>
        <p:nvSpPr>
          <p:cNvPr id="5" name="Titre 1"/>
          <p:cNvSpPr txBox="1">
            <a:spLocks/>
          </p:cNvSpPr>
          <p:nvPr/>
        </p:nvSpPr>
        <p:spPr>
          <a:xfrm>
            <a:off x="133140" y="211764"/>
            <a:ext cx="6006405" cy="415307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766" fontAlgn="auto">
              <a:lnSpc>
                <a:spcPts val="3000"/>
              </a:lnSpc>
              <a:spcAft>
                <a:spcPts val="0"/>
              </a:spcAft>
              <a:defRPr/>
            </a:pPr>
            <a:endParaRPr lang="fr-FR" sz="3200" b="1" dirty="0">
              <a:solidFill>
                <a:srgbClr val="FF7900"/>
              </a:solidFill>
              <a:latin typeface="Helvetica 75 Bold" panose="020B0804020202020204" pitchFamily="34" charset="0"/>
              <a:ea typeface="Helvetica" charset="0"/>
              <a:cs typeface="Helvetica" charset="0"/>
            </a:endParaRPr>
          </a:p>
        </p:txBody>
      </p:sp>
      <p:graphicFrame>
        <p:nvGraphicFramePr>
          <p:cNvPr id="2" name="Diagramme 1"/>
          <p:cNvGraphicFramePr/>
          <p:nvPr>
            <p:extLst>
              <p:ext uri="{D42A27DB-BD31-4B8C-83A1-F6EECF244321}">
                <p14:modId xmlns:p14="http://schemas.microsoft.com/office/powerpoint/2010/main" val="2270664079"/>
              </p:ext>
            </p:extLst>
          </p:nvPr>
        </p:nvGraphicFramePr>
        <p:xfrm>
          <a:off x="230981" y="1131590"/>
          <a:ext cx="8661499" cy="36004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  <p:sp>
        <p:nvSpPr>
          <p:cNvPr id="3" name="Titre 2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Une marque : très discutée sur le Web Social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2886143827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re 1"/>
          <p:cNvSpPr txBox="1">
            <a:spLocks/>
          </p:cNvSpPr>
          <p:nvPr/>
        </p:nvSpPr>
        <p:spPr>
          <a:xfrm>
            <a:off x="251223" y="230623"/>
            <a:ext cx="8641556" cy="9346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 fontAlgn="auto">
              <a:lnSpc>
                <a:spcPts val="3300"/>
              </a:lnSpc>
              <a:spcAft>
                <a:spcPts val="0"/>
              </a:spcAft>
              <a:defRPr/>
            </a:pPr>
            <a:endParaRPr lang="fr-FR" sz="3000" b="1" dirty="0">
              <a:solidFill>
                <a:srgbClr val="FF7900"/>
              </a:solidFill>
              <a:latin typeface="Helvetica 75 Bold" panose="020B0804020202020204" pitchFamily="34" charset="0"/>
              <a:ea typeface="Helvetica" charset="0"/>
              <a:cs typeface="Helvetica" charset="0"/>
            </a:endParaRPr>
          </a:p>
        </p:txBody>
      </p:sp>
      <p:sp>
        <p:nvSpPr>
          <p:cNvPr id="19" name="Rectangle 18"/>
          <p:cNvSpPr/>
          <p:nvPr/>
        </p:nvSpPr>
        <p:spPr>
          <a:xfrm>
            <a:off x="246182" y="987574"/>
            <a:ext cx="2877684" cy="2052288"/>
          </a:xfrm>
          <a:prstGeom prst="rect">
            <a:avLst/>
          </a:prstGeom>
          <a:solidFill>
            <a:srgbClr val="5BB4E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1" name="Rectangle 20"/>
          <p:cNvSpPr/>
          <p:nvPr/>
        </p:nvSpPr>
        <p:spPr>
          <a:xfrm>
            <a:off x="3123867" y="2607774"/>
            <a:ext cx="5768912" cy="1764176"/>
          </a:xfrm>
          <a:prstGeom prst="rect">
            <a:avLst/>
          </a:prstGeom>
          <a:solidFill>
            <a:srgbClr val="A685D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2" name="Rectangle 21"/>
          <p:cNvSpPr/>
          <p:nvPr/>
        </p:nvSpPr>
        <p:spPr>
          <a:xfrm>
            <a:off x="3123866" y="987574"/>
            <a:ext cx="5768913" cy="1620200"/>
          </a:xfrm>
          <a:prstGeom prst="rect">
            <a:avLst/>
          </a:prstGeom>
          <a:solidFill>
            <a:srgbClr val="FAB4E7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3" name="Rectangle 22"/>
          <p:cNvSpPr/>
          <p:nvPr/>
        </p:nvSpPr>
        <p:spPr>
          <a:xfrm>
            <a:off x="242463" y="3039862"/>
            <a:ext cx="2885123" cy="1332088"/>
          </a:xfrm>
          <a:prstGeom prst="rect">
            <a:avLst/>
          </a:prstGeom>
          <a:solidFill>
            <a:srgbClr val="FBD2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68580" tIns="34290" rIns="68580" bIns="34290" rtlCol="0" anchor="ctr"/>
          <a:lstStyle/>
          <a:p>
            <a:pPr algn="ctr"/>
            <a:endParaRPr lang="fr-FR" dirty="0">
              <a:solidFill>
                <a:srgbClr val="000000"/>
              </a:solidFill>
            </a:endParaRPr>
          </a:p>
        </p:txBody>
      </p:sp>
      <p:sp>
        <p:nvSpPr>
          <p:cNvPr id="24" name="Sous-titre 2"/>
          <p:cNvSpPr txBox="1">
            <a:spLocks/>
          </p:cNvSpPr>
          <p:nvPr/>
        </p:nvSpPr>
        <p:spPr>
          <a:xfrm>
            <a:off x="399050" y="1114290"/>
            <a:ext cx="2561658" cy="1317557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 defTabSz="685800" fontAlgn="auto">
              <a:lnSpc>
                <a:spcPts val="1950"/>
              </a:lnSpc>
              <a:spcBef>
                <a:spcPts val="0"/>
              </a:spcBef>
              <a:spcAft>
                <a:spcPts val="0"/>
              </a:spcAft>
              <a:defRPr/>
            </a:pPr>
            <a:r>
              <a:rPr lang="fr-FR" b="1" dirty="0" smtClean="0">
                <a:solidFill>
                  <a:srgbClr val="FFFFFF"/>
                </a:solidFill>
                <a:latin typeface="Helvetica 75 Bold" panose="020B0804020202020204" pitchFamily="34" charset="0"/>
                <a:ea typeface="Helvetica" charset="0"/>
                <a:cs typeface="Helvetica" charset="0"/>
              </a:rPr>
              <a:t>Brand Monitoring</a:t>
            </a:r>
            <a:endParaRPr lang="fr-FR" b="1" dirty="0" smtClean="0">
              <a:solidFill>
                <a:prstClr val="black"/>
              </a:solidFill>
              <a:latin typeface="Helvetica 75 Bold" panose="020B0804020202020204" pitchFamily="34" charset="0"/>
              <a:ea typeface="Helvetica" charset="0"/>
              <a:cs typeface="Helvetica" charset="0"/>
            </a:endParaRPr>
          </a:p>
          <a:p>
            <a:pPr marL="285750" indent="-285750" algn="l"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000000"/>
                </a:solidFill>
                <a:latin typeface="Helvetica 75 Bold" panose="020B0804020202020204" pitchFamily="34" charset="0"/>
                <a:cs typeface="Helvetica" panose="020B0604020202020204" pitchFamily="34" charset="0"/>
              </a:rPr>
              <a:t>Monitorer la performance de la marque vs. ses compétiteurs</a:t>
            </a:r>
            <a:endParaRPr lang="fr-FR" sz="1400" b="1" dirty="0" smtClean="0">
              <a:solidFill>
                <a:srgbClr val="000000"/>
              </a:solidFill>
              <a:latin typeface="Helvetica 75 Bold" panose="020B0804020202020204" pitchFamily="34" charset="0"/>
              <a:ea typeface="Helvetica" charset="0"/>
              <a:cs typeface="Helvetica" charset="0"/>
            </a:endParaRPr>
          </a:p>
        </p:txBody>
      </p:sp>
      <p:sp>
        <p:nvSpPr>
          <p:cNvPr id="27" name="Titre 1"/>
          <p:cNvSpPr txBox="1">
            <a:spLocks/>
          </p:cNvSpPr>
          <p:nvPr/>
        </p:nvSpPr>
        <p:spPr>
          <a:xfrm>
            <a:off x="3273654" y="1059582"/>
            <a:ext cx="5546817" cy="13086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800" fontAlgn="auto">
              <a:lnSpc>
                <a:spcPct val="100000"/>
              </a:lnSpc>
              <a:spcAft>
                <a:spcPts val="0"/>
              </a:spcAft>
              <a:defRPr/>
            </a:pPr>
            <a:r>
              <a:rPr lang="fr-FR" sz="2400" b="1" dirty="0" smtClean="0">
                <a:solidFill>
                  <a:srgbClr val="FFFFFF"/>
                </a:solidFill>
                <a:latin typeface="Helvetica 75 Bold" panose="020B0804020202020204" pitchFamily="34" charset="0"/>
                <a:ea typeface="Helvetica" charset="0"/>
                <a:cs typeface="Helvetica" charset="0"/>
              </a:rPr>
              <a:t>Intelligence Economique</a:t>
            </a:r>
          </a:p>
          <a:p>
            <a:pPr marL="285750" indent="-285750" algn="l" defTabSz="685800" fontAlgn="auto">
              <a:lnSpc>
                <a:spcPts val="135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dirty="0" smtClean="0">
                <a:solidFill>
                  <a:srgbClr val="000000"/>
                </a:solidFill>
                <a:latin typeface="Helvetica 75 Bold" panose="020B0804020202020204" pitchFamily="34" charset="0"/>
                <a:ea typeface="Helvetica" charset="0"/>
                <a:cs typeface="Helvetica" charset="0"/>
              </a:rPr>
              <a:t>Estimer les évolutions du marché,</a:t>
            </a:r>
          </a:p>
          <a:p>
            <a:pPr marL="285750" indent="-285750" algn="l" defTabSz="685800" fontAlgn="auto">
              <a:lnSpc>
                <a:spcPts val="135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dirty="0" smtClean="0">
                <a:solidFill>
                  <a:srgbClr val="000000"/>
                </a:solidFill>
                <a:latin typeface="Helvetica 75 Bold" panose="020B0804020202020204" pitchFamily="34" charset="0"/>
                <a:ea typeface="Helvetica" charset="0"/>
                <a:cs typeface="Helvetica" charset="0"/>
              </a:rPr>
              <a:t>Observer le positionnement des acteurs</a:t>
            </a:r>
          </a:p>
          <a:p>
            <a:pPr marL="285750" indent="-285750" algn="l" defTabSz="685800" fontAlgn="auto">
              <a:lnSpc>
                <a:spcPts val="1350"/>
              </a:lnSpc>
              <a:spcBef>
                <a:spcPts val="10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/>
            </a:pPr>
            <a:r>
              <a:rPr lang="fr-FR" sz="1400" b="1" dirty="0" smtClean="0">
                <a:solidFill>
                  <a:srgbClr val="000000"/>
                </a:solidFill>
                <a:latin typeface="Helvetica 75 Bold" panose="020B0804020202020204" pitchFamily="34" charset="0"/>
                <a:ea typeface="Helvetica" charset="0"/>
                <a:cs typeface="Helvetica" charset="0"/>
              </a:rPr>
              <a:t>Anticiper les dernières tendances</a:t>
            </a:r>
            <a:endParaRPr lang="fr-FR" sz="1200" b="1" dirty="0">
              <a:solidFill>
                <a:srgbClr val="000000"/>
              </a:solidFill>
              <a:latin typeface="Helvetica 75 Bold" panose="020B0804020202020204" pitchFamily="34" charset="0"/>
              <a:ea typeface="Helvetica" charset="0"/>
              <a:cs typeface="Helvetica" charset="0"/>
            </a:endParaRPr>
          </a:p>
        </p:txBody>
      </p:sp>
      <p:sp>
        <p:nvSpPr>
          <p:cNvPr id="28" name="Sous-titre 2"/>
          <p:cNvSpPr txBox="1">
            <a:spLocks/>
          </p:cNvSpPr>
          <p:nvPr/>
        </p:nvSpPr>
        <p:spPr>
          <a:xfrm>
            <a:off x="3273655" y="2787774"/>
            <a:ext cx="5330793" cy="12547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fr-FR" dirty="0" smtClean="0">
                <a:solidFill>
                  <a:srgbClr val="FFFFFF"/>
                </a:solidFill>
                <a:latin typeface="Helvetica 75 Bold" panose="020B0804020202020204" pitchFamily="34" charset="0"/>
                <a:cs typeface="Helvetica" panose="020B0604020202020204" pitchFamily="34" charset="0"/>
              </a:rPr>
              <a:t>Améliorer l’expérience Client</a:t>
            </a:r>
          </a:p>
          <a:p>
            <a:pPr marL="214313" indent="-214313" algn="l">
              <a:spcBef>
                <a:spcPts val="0"/>
              </a:spcBef>
              <a:buFont typeface="Arial" panose="020B0604020202020204" pitchFamily="34" charset="0"/>
              <a:buChar char="•"/>
            </a:pPr>
            <a:endParaRPr lang="fr-FR" sz="1200" dirty="0" smtClean="0">
              <a:solidFill>
                <a:srgbClr val="000000"/>
              </a:solidFill>
              <a:latin typeface="Helvetica 75 Bold" panose="020B0804020202020204" pitchFamily="34" charset="0"/>
              <a:cs typeface="Helvetica" panose="020B0604020202020204" pitchFamily="34" charset="0"/>
            </a:endParaRPr>
          </a:p>
          <a:p>
            <a:pPr marL="285750" indent="-285750" algn="l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000000"/>
                </a:solidFill>
                <a:latin typeface="Helvetica 75 Bold" panose="020B0804020202020204" pitchFamily="34" charset="0"/>
                <a:cs typeface="Helvetica" panose="020B0604020202020204" pitchFamily="34" charset="0"/>
              </a:rPr>
              <a:t>Suivre le lancement de nouveaux produits</a:t>
            </a:r>
          </a:p>
          <a:p>
            <a:pPr marL="285750" indent="-285750" algn="l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000000"/>
                </a:solidFill>
                <a:latin typeface="Helvetica 75 Bold" panose="020B0804020202020204" pitchFamily="34" charset="0"/>
                <a:cs typeface="Helvetica" panose="020B0604020202020204" pitchFamily="34" charset="0"/>
              </a:rPr>
              <a:t>Suivre les Produits et offres existants</a:t>
            </a:r>
          </a:p>
          <a:p>
            <a:pPr marL="285750" indent="-285750" algn="l">
              <a:spcBef>
                <a:spcPts val="0"/>
              </a:spcBef>
              <a:buFont typeface="Wingdings" panose="05000000000000000000" pitchFamily="2" charset="2"/>
              <a:buChar char="§"/>
            </a:pPr>
            <a:r>
              <a:rPr lang="fr-FR" sz="1400" dirty="0" smtClean="0">
                <a:solidFill>
                  <a:srgbClr val="000000"/>
                </a:solidFill>
                <a:latin typeface="Helvetica 75 Bold" panose="020B0804020202020204" pitchFamily="34" charset="0"/>
                <a:cs typeface="Helvetica" panose="020B0604020202020204" pitchFamily="34" charset="0"/>
              </a:rPr>
              <a:t>Avec le retour en temps réel du web</a:t>
            </a:r>
          </a:p>
        </p:txBody>
      </p:sp>
      <p:sp>
        <p:nvSpPr>
          <p:cNvPr id="15" name="Sous-titre 2"/>
          <p:cNvSpPr txBox="1">
            <a:spLocks/>
          </p:cNvSpPr>
          <p:nvPr/>
        </p:nvSpPr>
        <p:spPr>
          <a:xfrm>
            <a:off x="351257" y="3189238"/>
            <a:ext cx="2708575" cy="125472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>
              <a:defRPr/>
            </a:pPr>
            <a:r>
              <a:rPr lang="fr-FR" dirty="0" smtClean="0">
                <a:solidFill>
                  <a:srgbClr val="FFFFFF"/>
                </a:solidFill>
                <a:latin typeface="Helvetica 75 Bold" panose="020B0804020202020204" pitchFamily="34" charset="0"/>
                <a:cs typeface="Helvetica" panose="020B0604020202020204" pitchFamily="34" charset="0"/>
              </a:rPr>
              <a:t>Buzz monitoring</a:t>
            </a:r>
          </a:p>
          <a:p>
            <a:pPr algn="l">
              <a:defRPr/>
            </a:pPr>
            <a:r>
              <a:rPr lang="fr-FR" sz="1400" dirty="0" smtClean="0">
                <a:solidFill>
                  <a:srgbClr val="000000"/>
                </a:solidFill>
                <a:latin typeface="Helvetica 75 Bold" panose="020B0804020202020204" pitchFamily="34" charset="0"/>
                <a:cs typeface="Helvetica" panose="020B0604020202020204" pitchFamily="34" charset="0"/>
              </a:rPr>
              <a:t>Monitorer un </a:t>
            </a:r>
            <a:r>
              <a:rPr lang="fr-FR" sz="1400" dirty="0" err="1" smtClean="0">
                <a:solidFill>
                  <a:srgbClr val="000000"/>
                </a:solidFill>
                <a:latin typeface="Helvetica 75 Bold" panose="020B0804020202020204" pitchFamily="34" charset="0"/>
                <a:cs typeface="Helvetica" panose="020B0604020202020204" pitchFamily="34" charset="0"/>
              </a:rPr>
              <a:t>bad</a:t>
            </a:r>
            <a:r>
              <a:rPr lang="fr-FR" sz="1400" dirty="0" smtClean="0">
                <a:solidFill>
                  <a:srgbClr val="000000"/>
                </a:solidFill>
                <a:latin typeface="Helvetica 75 Bold" panose="020B0804020202020204" pitchFamily="34" charset="0"/>
                <a:cs typeface="Helvetica" panose="020B0604020202020204" pitchFamily="34" charset="0"/>
              </a:rPr>
              <a:t>/good buzz en temps réel (ex: appel à Boycott) </a:t>
            </a:r>
            <a:endParaRPr lang="fr-FR" sz="1400" dirty="0">
              <a:solidFill>
                <a:srgbClr val="000000"/>
              </a:solidFill>
              <a:latin typeface="Helvetica 75 Bold" panose="020B0804020202020204" pitchFamily="34" charset="0"/>
              <a:cs typeface="Helvetica" panose="020B0604020202020204" pitchFamily="34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fr-FR" dirty="0" smtClean="0"/>
              <a:t>Les verbatim : une mine d’or</a:t>
            </a:r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950393212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re 1"/>
          <p:cNvSpPr txBox="1">
            <a:spLocks/>
          </p:cNvSpPr>
          <p:nvPr/>
        </p:nvSpPr>
        <p:spPr>
          <a:xfrm>
            <a:off x="251222" y="1563638"/>
            <a:ext cx="3888730" cy="2154962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fontAlgn="auto">
              <a:lnSpc>
                <a:spcPct val="100000"/>
              </a:lnSpc>
              <a:spcAft>
                <a:spcPts val="0"/>
              </a:spcAft>
              <a:defRPr/>
            </a:pPr>
            <a:endParaRPr lang="fr-FR" sz="1600" b="1" dirty="0">
              <a:solidFill>
                <a:srgbClr val="FF6600"/>
              </a:solidFill>
              <a:latin typeface="Helvetica 75 Bold" panose="020B0804020202020204" pitchFamily="34" charset="0"/>
              <a:ea typeface="Helvetica" charset="0"/>
              <a:cs typeface="Helvetica" panose="020B0604020202020204" pitchFamily="34" charset="0"/>
            </a:endParaRPr>
          </a:p>
        </p:txBody>
      </p:sp>
      <p:sp>
        <p:nvSpPr>
          <p:cNvPr id="9" name="Titre 1"/>
          <p:cNvSpPr txBox="1">
            <a:spLocks/>
          </p:cNvSpPr>
          <p:nvPr/>
        </p:nvSpPr>
        <p:spPr>
          <a:xfrm>
            <a:off x="251224" y="230623"/>
            <a:ext cx="8641556" cy="934668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ctr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60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685766" fontAlgn="auto">
              <a:lnSpc>
                <a:spcPts val="3300"/>
              </a:lnSpc>
              <a:spcAft>
                <a:spcPts val="0"/>
              </a:spcAft>
              <a:defRPr/>
            </a:pPr>
            <a:endParaRPr lang="fr-FR" sz="3000" b="1" dirty="0">
              <a:solidFill>
                <a:srgbClr val="FF7900"/>
              </a:solidFill>
              <a:latin typeface="Helvetica 75 Bold" panose="020B0804020202020204" pitchFamily="34" charset="0"/>
              <a:ea typeface="Helvetica" charset="0"/>
              <a:cs typeface="Helvetica" charset="0"/>
            </a:endParaRPr>
          </a:p>
        </p:txBody>
      </p:sp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>
            <a:normAutofit fontScale="90000"/>
          </a:bodyPr>
          <a:lstStyle/>
          <a:p>
            <a:r>
              <a:rPr lang="en-US" dirty="0" smtClean="0"/>
              <a:t>Social Data </a:t>
            </a:r>
            <a:r>
              <a:rPr lang="en-US" dirty="0" err="1" smtClean="0"/>
              <a:t>est</a:t>
            </a:r>
            <a:r>
              <a:rPr lang="en-US" dirty="0" smtClean="0"/>
              <a:t> : </a:t>
            </a:r>
            <a:endParaRPr lang="fr-FR" dirty="0"/>
          </a:p>
        </p:txBody>
      </p:sp>
      <p:graphicFrame>
        <p:nvGraphicFramePr>
          <p:cNvPr id="11" name="Espace réservé du contenu 10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703167123"/>
              </p:ext>
            </p:extLst>
          </p:nvPr>
        </p:nvGraphicFramePr>
        <p:xfrm>
          <a:off x="468313" y="1131888"/>
          <a:ext cx="8229600" cy="3394075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</p:spTree>
    <p:extLst>
      <p:ext uri="{BB962C8B-B14F-4D97-AF65-F5344CB8AC3E}">
        <p14:creationId xmlns:p14="http://schemas.microsoft.com/office/powerpoint/2010/main" val="3928371830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2" val="60fd420e2f369681ff7d579defce5493287913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6970</TotalTime>
  <Words>510</Words>
  <Application>Microsoft Office PowerPoint</Application>
  <PresentationFormat>Affichage à l'écran (16:9)</PresentationFormat>
  <Paragraphs>109</Paragraphs>
  <Slides>29</Slides>
  <Notes>9</Notes>
  <HiddenSlides>0</HiddenSlides>
  <MMClips>0</MMClips>
  <ScaleCrop>false</ScaleCrop>
  <HeadingPairs>
    <vt:vector size="8" baseType="variant">
      <vt:variant>
        <vt:lpstr>Polices utilisées</vt:lpstr>
      </vt:variant>
      <vt:variant>
        <vt:i4>10</vt:i4>
      </vt:variant>
      <vt:variant>
        <vt:lpstr>Thème</vt:lpstr>
      </vt:variant>
      <vt:variant>
        <vt:i4>1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29</vt:i4>
      </vt:variant>
    </vt:vector>
  </HeadingPairs>
  <TitlesOfParts>
    <vt:vector size="41" baseType="lpstr">
      <vt:lpstr>ＭＳ Ｐゴシック</vt:lpstr>
      <vt:lpstr>Arial</vt:lpstr>
      <vt:lpstr>Calibri</vt:lpstr>
      <vt:lpstr>Courier</vt:lpstr>
      <vt:lpstr>Helvetica</vt:lpstr>
      <vt:lpstr>Helvetica 55 Roman</vt:lpstr>
      <vt:lpstr>Helvetica 75</vt:lpstr>
      <vt:lpstr>Helvetica 75 Bold</vt:lpstr>
      <vt:lpstr>Lato</vt:lpstr>
      <vt:lpstr>Wingdings</vt:lpstr>
      <vt:lpstr>Thème Office</vt:lpstr>
      <vt:lpstr>Diapositive think-cell</vt:lpstr>
      <vt:lpstr>Conférence Social Media Listening</vt:lpstr>
      <vt:lpstr>Présentation PowerPoint</vt:lpstr>
      <vt:lpstr>Bletchey Park</vt:lpstr>
      <vt:lpstr>Les Réseaux Sociaux sont le plus grands focus groupe du monde</vt:lpstr>
      <vt:lpstr>Le nombre de conversations  sur le web explose !</vt:lpstr>
      <vt:lpstr>« Il y a bascule paradigmatique de la représentativité à l’exhaustivité, là où un panel propose 1000 personnes, le #SocialListening aligne 100M de verbatim »</vt:lpstr>
      <vt:lpstr>Une marque : très discutée sur le Web Social</vt:lpstr>
      <vt:lpstr>Les verbatim : une mine d’or</vt:lpstr>
      <vt:lpstr>Social Data est : </vt:lpstr>
      <vt:lpstr>Présentation PowerPoint</vt:lpstr>
      <vt:lpstr>Présentation PowerPoint</vt:lpstr>
      <vt:lpstr>Regrouper les compétences digitales</vt:lpstr>
      <vt:lpstr>Présentation PowerPoint</vt:lpstr>
      <vt:lpstr>Présentation PowerPoint</vt:lpstr>
      <vt:lpstr>Découvrir de nouvelles tendances et être alerté en temps réel</vt:lpstr>
      <vt:lpstr>La #SocialRoom est un lieu, le lieu est un média</vt:lpstr>
      <vt:lpstr>Un lieu physique qui regroupe des nouvelles compétences digitales</vt:lpstr>
      <vt:lpstr>La#SocialRoom est un Media</vt:lpstr>
      <vt:lpstr>La #SocialRoom est un  média qui produit son propre contenu à partir du Social Listening</vt:lpstr>
      <vt:lpstr>La #SocialRoom est un media avec ses canaux de diffusion (ascenseurs, open space, hall d’accueil)</vt:lpstr>
      <vt:lpstr>La #SocialRoom est un media avec ses « décodeurs »   - Social Stick</vt:lpstr>
      <vt:lpstr>Social Stick clé HDMI pour transformer tout type d’écran en Social Wall</vt:lpstr>
      <vt:lpstr>Les métiers d'une #SocialRoom </vt:lpstr>
      <vt:lpstr>Les outils d'une #SocialRoom</vt:lpstr>
      <vt:lpstr>Outils de Collecte et d’analyse</vt:lpstr>
      <vt:lpstr>Avec le Social Listening</vt:lpstr>
      <vt:lpstr>Une #SocialRoom à l’EGE ?</vt:lpstr>
      <vt:lpstr>C’est à vous !</vt:lpstr>
      <vt:lpstr>Pour aller plus loin</vt:lpstr>
    </vt:vector>
  </TitlesOfParts>
  <Company>ORANGE FT Group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FAMIBELLE Medhi OF/DCOF</dc:creator>
  <cp:lastModifiedBy>User7</cp:lastModifiedBy>
  <cp:revision>473</cp:revision>
  <cp:lastPrinted>2013-05-24T16:35:47Z</cp:lastPrinted>
  <dcterms:created xsi:type="dcterms:W3CDTF">2015-04-28T08:40:07Z</dcterms:created>
  <dcterms:modified xsi:type="dcterms:W3CDTF">2018-12-04T13:4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</Properties>
</file>